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19" r:id="rId2"/>
    <p:sldMasterId id="2147483780" r:id="rId3"/>
  </p:sldMasterIdLst>
  <p:notesMasterIdLst>
    <p:notesMasterId r:id="rId19"/>
  </p:notesMasterIdLst>
  <p:sldIdLst>
    <p:sldId id="258" r:id="rId4"/>
    <p:sldId id="2055" r:id="rId5"/>
    <p:sldId id="2065" r:id="rId6"/>
    <p:sldId id="2084" r:id="rId7"/>
    <p:sldId id="2091" r:id="rId8"/>
    <p:sldId id="2092" r:id="rId9"/>
    <p:sldId id="2090" r:id="rId10"/>
    <p:sldId id="2094" r:id="rId11"/>
    <p:sldId id="2093" r:id="rId12"/>
    <p:sldId id="2096" r:id="rId13"/>
    <p:sldId id="2088" r:id="rId14"/>
    <p:sldId id="2089" r:id="rId15"/>
    <p:sldId id="2097" r:id="rId16"/>
    <p:sldId id="2098" r:id="rId17"/>
    <p:sldId id="2095"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ouravish Tara L" initials="YTL" lastIdx="1" clrIdx="0">
    <p:extLst>
      <p:ext uri="{19B8F6BF-5375-455C-9EA6-DF929625EA0E}">
        <p15:presenceInfo xmlns:p15="http://schemas.microsoft.com/office/powerpoint/2012/main" userId="S::TARA.L.YOURAVISH@dhsoha.state.or.us::9f051a9f-7467-4903-8e9c-0bdb8a7e67b0" providerId="AD"/>
      </p:ext>
    </p:extLst>
  </p:cmAuthor>
  <p:cmAuthor id="2" name="Mooney Erika R" initials="MER" lastIdx="2" clrIdx="1">
    <p:extLst>
      <p:ext uri="{19B8F6BF-5375-455C-9EA6-DF929625EA0E}">
        <p15:presenceInfo xmlns:p15="http://schemas.microsoft.com/office/powerpoint/2012/main" userId="S::ERIKA.R.MOONEY@dhsoha.state.or.us::d0b1f501-c23c-4a99-b572-4dd7a2355394" providerId="AD"/>
      </p:ext>
    </p:extLst>
  </p:cmAuthor>
  <p:cmAuthor id="3" name="BOUCHELL Lisa" initials="BL" lastIdx="16" clrIdx="2">
    <p:extLst>
      <p:ext uri="{19B8F6BF-5375-455C-9EA6-DF929625EA0E}">
        <p15:presenceInfo xmlns:p15="http://schemas.microsoft.com/office/powerpoint/2012/main" userId="S::Lisa.BOUCHELL@dhsoha.state.or.us::0e22fbb2-5c74-4cf0-8b48-34156ff566c9" providerId="AD"/>
      </p:ext>
    </p:extLst>
  </p:cmAuthor>
  <p:cmAuthor id="4" name="Booth Donitta" initials="BD" lastIdx="1" clrIdx="3">
    <p:extLst>
      <p:ext uri="{19B8F6BF-5375-455C-9EA6-DF929625EA0E}">
        <p15:presenceInfo xmlns:p15="http://schemas.microsoft.com/office/powerpoint/2012/main" userId="S::DONITTA.BOOTH@dhsoha.state.or.us::dc45ab8e-863f-4edd-93f8-157ed07436ca" providerId="AD"/>
      </p:ext>
    </p:extLst>
  </p:cmAuthor>
  <p:cmAuthor id="5" name="THOMPSON Hilary C" initials="THC" lastIdx="1" clrIdx="4">
    <p:extLst>
      <p:ext uri="{19B8F6BF-5375-455C-9EA6-DF929625EA0E}">
        <p15:presenceInfo xmlns:p15="http://schemas.microsoft.com/office/powerpoint/2012/main" userId="S::hthompson@lcog.org::bfd4b457-241a-4903-9f6a-d9cf9581b001" providerId="AD"/>
      </p:ext>
    </p:extLst>
  </p:cmAuthor>
  <p:cmAuthor id="6" name="TURNER Katrina" initials="TK" lastIdx="3" clrIdx="5">
    <p:extLst>
      <p:ext uri="{19B8F6BF-5375-455C-9EA6-DF929625EA0E}">
        <p15:presenceInfo xmlns:p15="http://schemas.microsoft.com/office/powerpoint/2012/main" userId="S::Katrina.TURNER@dhsoha.state.or.us::edabac6d-a246-410f-b2c4-f41774866ea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C226"/>
    <a:srgbClr val="608BBD"/>
    <a:srgbClr val="FFFFFF"/>
    <a:srgbClr val="1D61A8"/>
    <a:srgbClr val="1060A2"/>
    <a:srgbClr val="6594CC"/>
    <a:srgbClr val="A5C0D5"/>
    <a:srgbClr val="6D9BCF"/>
    <a:srgbClr val="3C76B6"/>
    <a:srgbClr val="266C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CAA3A8-EAEE-4329-9665-C75FB3BADA55}" v="40" vWet="41" dt="2021-06-10T20:55:38.539"/>
    <p1510:client id="{0B099009-B883-4165-8303-5CF76C76D1F7}" v="895" dt="2021-06-09T23:27:00.011"/>
    <p1510:client id="{113A84D8-9F2B-4BBA-A17B-E2BBB3FA8839}" v="340" dt="2021-06-10T19:14:21.478"/>
    <p1510:client id="{158899AC-B902-4972-9882-BC4C3D2040D5}" v="1772" dt="2021-06-09T23:00:43.238"/>
    <p1510:client id="{1E95F478-F0DF-4950-AA50-E944D99736FC}" v="645" dt="2021-06-10T21:07:43.851"/>
    <p1510:client id="{219F201B-F8AE-4957-A642-E3A10CA1537B}" v="1783" dt="2021-06-10T21:40:31.145"/>
    <p1510:client id="{3D76602B-44A1-4C98-BF8F-F1DE5A1B8B3C}" v="8" dt="2021-06-10T17:43:58.317"/>
    <p1510:client id="{4958EE51-7F25-49A0-9ECF-F1B45C40B532}" v="9" dt="2021-06-10T21:45:22.142"/>
    <p1510:client id="{8FEF1B5F-80F9-412A-BD3A-66A77968BC18}" v="628" dt="2021-06-10T21:58:00.818"/>
    <p1510:client id="{AB1F4383-478D-4602-B611-5BF44C837D91}" v="2" dt="2021-06-10T20:32:16.333"/>
    <p1510:client id="{AFCDD911-45DE-46CC-B288-1ACEA0A3DD52}" v="88" dt="2021-06-09T23:31:44.006"/>
    <p1510:client id="{B1683293-B749-46B2-B73E-0A9B469E2805}" v="866" dt="2021-06-10T20:25:29.174"/>
    <p1510:client id="{B34A7783-6A87-46B1-87D3-99DFF19BE6F1}" v="262" dt="2021-06-10T20:51:51.847"/>
    <p1510:client id="{C9620A1F-E394-4601-B190-0C030BB2CF30}" v="192" dt="2021-06-10T19:09:40.248"/>
    <p1510:client id="{D8801CB4-2A00-44BB-9DC4-6C4494D9BB46}" v="17" dt="2021-06-10T20:59:33.085"/>
    <p1510:client id="{E856F54B-9392-423B-9E08-C01E9067E356}" v="432" dt="2021-06-10T20:43:03.204"/>
    <p1510:client id="{FFC876BB-8DEB-44E6-A4BA-A0DD7E126EC6}" v="1508" dt="2021-06-10T21:20:44.0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ags" Target="tags/tag1.xml"/><Relationship Id="rId29"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28" Type="http://schemas.openxmlformats.org/officeDocument/2006/relationships/customXml" Target="../customXml/item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 Id="rId27" Type="http://schemas.microsoft.com/office/2015/10/relationships/revisionInfo" Target="revisionInfo.xml"/><Relationship Id="rId30"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oney Erika R" userId="S::erika.r.mooney@dhsoha.state.or.us::d0b1f501-c23c-4a99-b572-4dd7a2355394" providerId="AD" clId="Web-{158899AC-B902-4972-9882-BC4C3D2040D5}"/>
    <pc:docChg chg="addSld modSld sldOrd">
      <pc:chgData name="Mooney Erika R" userId="S::erika.r.mooney@dhsoha.state.or.us::d0b1f501-c23c-4a99-b572-4dd7a2355394" providerId="AD" clId="Web-{158899AC-B902-4972-9882-BC4C3D2040D5}" dt="2021-06-09T23:00:43.238" v="833"/>
      <pc:docMkLst>
        <pc:docMk/>
      </pc:docMkLst>
      <pc:sldChg chg="modSp ord">
        <pc:chgData name="Mooney Erika R" userId="S::erika.r.mooney@dhsoha.state.or.us::d0b1f501-c23c-4a99-b572-4dd7a2355394" providerId="AD" clId="Web-{158899AC-B902-4972-9882-BC4C3D2040D5}" dt="2021-06-09T23:00:35.894" v="832"/>
        <pc:sldMkLst>
          <pc:docMk/>
          <pc:sldMk cId="3420731411" sldId="2088"/>
        </pc:sldMkLst>
        <pc:spChg chg="mod">
          <ac:chgData name="Mooney Erika R" userId="S::erika.r.mooney@dhsoha.state.or.us::d0b1f501-c23c-4a99-b572-4dd7a2355394" providerId="AD" clId="Web-{158899AC-B902-4972-9882-BC4C3D2040D5}" dt="2021-06-09T22:59:48.644" v="823" actId="20577"/>
          <ac:spMkLst>
            <pc:docMk/>
            <pc:sldMk cId="3420731411" sldId="2088"/>
            <ac:spMk id="4" creationId="{6EA13D77-F188-4737-BDE8-6465E58A5283}"/>
          </ac:spMkLst>
        </pc:spChg>
      </pc:sldChg>
      <pc:sldChg chg="modSp ord">
        <pc:chgData name="Mooney Erika R" userId="S::erika.r.mooney@dhsoha.state.or.us::d0b1f501-c23c-4a99-b572-4dd7a2355394" providerId="AD" clId="Web-{158899AC-B902-4972-9882-BC4C3D2040D5}" dt="2021-06-09T23:00:22.175" v="831" actId="20577"/>
        <pc:sldMkLst>
          <pc:docMk/>
          <pc:sldMk cId="723912341" sldId="2089"/>
        </pc:sldMkLst>
        <pc:spChg chg="mod">
          <ac:chgData name="Mooney Erika R" userId="S::erika.r.mooney@dhsoha.state.or.us::d0b1f501-c23c-4a99-b572-4dd7a2355394" providerId="AD" clId="Web-{158899AC-B902-4972-9882-BC4C3D2040D5}" dt="2021-06-09T23:00:22.175" v="831" actId="20577"/>
          <ac:spMkLst>
            <pc:docMk/>
            <pc:sldMk cId="723912341" sldId="2089"/>
            <ac:spMk id="4" creationId="{6EA13D77-F188-4737-BDE8-6465E58A5283}"/>
          </ac:spMkLst>
        </pc:spChg>
      </pc:sldChg>
      <pc:sldChg chg="ord">
        <pc:chgData name="Mooney Erika R" userId="S::erika.r.mooney@dhsoha.state.or.us::d0b1f501-c23c-4a99-b572-4dd7a2355394" providerId="AD" clId="Web-{158899AC-B902-4972-9882-BC4C3D2040D5}" dt="2021-06-09T23:00:43.238" v="833"/>
        <pc:sldMkLst>
          <pc:docMk/>
          <pc:sldMk cId="619972361" sldId="2090"/>
        </pc:sldMkLst>
      </pc:sldChg>
      <pc:sldChg chg="addSp delSp modSp new ord">
        <pc:chgData name="Mooney Erika R" userId="S::erika.r.mooney@dhsoha.state.or.us::d0b1f501-c23c-4a99-b572-4dd7a2355394" providerId="AD" clId="Web-{158899AC-B902-4972-9882-BC4C3D2040D5}" dt="2021-06-09T22:52:37.763" v="691" actId="1076"/>
        <pc:sldMkLst>
          <pc:docMk/>
          <pc:sldMk cId="3685199594" sldId="2091"/>
        </pc:sldMkLst>
        <pc:spChg chg="mod">
          <ac:chgData name="Mooney Erika R" userId="S::erika.r.mooney@dhsoha.state.or.us::d0b1f501-c23c-4a99-b572-4dd7a2355394" providerId="AD" clId="Web-{158899AC-B902-4972-9882-BC4C3D2040D5}" dt="2021-06-09T22:42:14.803" v="13" actId="14100"/>
          <ac:spMkLst>
            <pc:docMk/>
            <pc:sldMk cId="3685199594" sldId="2091"/>
            <ac:spMk id="2" creationId="{E95CE8AD-FED5-4BC9-B926-C50307EC66A7}"/>
          </ac:spMkLst>
        </pc:spChg>
        <pc:spChg chg="mod">
          <ac:chgData name="Mooney Erika R" userId="S::erika.r.mooney@dhsoha.state.or.us::d0b1f501-c23c-4a99-b572-4dd7a2355394" providerId="AD" clId="Web-{158899AC-B902-4972-9882-BC4C3D2040D5}" dt="2021-06-09T22:50:06.918" v="662" actId="20577"/>
          <ac:spMkLst>
            <pc:docMk/>
            <pc:sldMk cId="3685199594" sldId="2091"/>
            <ac:spMk id="3" creationId="{5D967A8F-D2A9-460B-BFD6-20F4293E278B}"/>
          </ac:spMkLst>
        </pc:spChg>
        <pc:spChg chg="del">
          <ac:chgData name="Mooney Erika R" userId="S::erika.r.mooney@dhsoha.state.or.us::d0b1f501-c23c-4a99-b572-4dd7a2355394" providerId="AD" clId="Web-{158899AC-B902-4972-9882-BC4C3D2040D5}" dt="2021-06-09T22:47:03.822" v="357"/>
          <ac:spMkLst>
            <pc:docMk/>
            <pc:sldMk cId="3685199594" sldId="2091"/>
            <ac:spMk id="4" creationId="{E8620CD7-77D2-4659-8A99-5DEAB6060136}"/>
          </ac:spMkLst>
        </pc:spChg>
        <pc:spChg chg="add mod">
          <ac:chgData name="Mooney Erika R" userId="S::erika.r.mooney@dhsoha.state.or.us::d0b1f501-c23c-4a99-b572-4dd7a2355394" providerId="AD" clId="Web-{158899AC-B902-4972-9882-BC4C3D2040D5}" dt="2021-06-09T22:51:42.216" v="686"/>
          <ac:spMkLst>
            <pc:docMk/>
            <pc:sldMk cId="3685199594" sldId="2091"/>
            <ac:spMk id="6" creationId="{2132F5C8-F63E-43BA-8830-A47ABFA7A8B6}"/>
          </ac:spMkLst>
        </pc:spChg>
        <pc:picChg chg="add mod">
          <ac:chgData name="Mooney Erika R" userId="S::erika.r.mooney@dhsoha.state.or.us::d0b1f501-c23c-4a99-b572-4dd7a2355394" providerId="AD" clId="Web-{158899AC-B902-4972-9882-BC4C3D2040D5}" dt="2021-06-09T22:52:37.763" v="691" actId="1076"/>
          <ac:picMkLst>
            <pc:docMk/>
            <pc:sldMk cId="3685199594" sldId="2091"/>
            <ac:picMk id="7" creationId="{92D28E6F-306F-488E-884F-D83A9BBEC141}"/>
          </ac:picMkLst>
        </pc:picChg>
      </pc:sldChg>
      <pc:sldChg chg="delSp modSp add replId">
        <pc:chgData name="Mooney Erika R" userId="S::erika.r.mooney@dhsoha.state.or.us::d0b1f501-c23c-4a99-b572-4dd7a2355394" providerId="AD" clId="Web-{158899AC-B902-4972-9882-BC4C3D2040D5}" dt="2021-06-09T22:49:55.964" v="649" actId="20577"/>
        <pc:sldMkLst>
          <pc:docMk/>
          <pc:sldMk cId="1838762907" sldId="2092"/>
        </pc:sldMkLst>
        <pc:spChg chg="mod">
          <ac:chgData name="Mooney Erika R" userId="S::erika.r.mooney@dhsoha.state.or.us::d0b1f501-c23c-4a99-b572-4dd7a2355394" providerId="AD" clId="Web-{158899AC-B902-4972-9882-BC4C3D2040D5}" dt="2021-06-09T22:46:58.040" v="356" actId="20577"/>
          <ac:spMkLst>
            <pc:docMk/>
            <pc:sldMk cId="1838762907" sldId="2092"/>
            <ac:spMk id="2" creationId="{E95CE8AD-FED5-4BC9-B926-C50307EC66A7}"/>
          </ac:spMkLst>
        </pc:spChg>
        <pc:spChg chg="mod">
          <ac:chgData name="Mooney Erika R" userId="S::erika.r.mooney@dhsoha.state.or.us::d0b1f501-c23c-4a99-b572-4dd7a2355394" providerId="AD" clId="Web-{158899AC-B902-4972-9882-BC4C3D2040D5}" dt="2021-06-09T22:49:55.964" v="649" actId="20577"/>
          <ac:spMkLst>
            <pc:docMk/>
            <pc:sldMk cId="1838762907" sldId="2092"/>
            <ac:spMk id="3" creationId="{5D967A8F-D2A9-460B-BFD6-20F4293E278B}"/>
          </ac:spMkLst>
        </pc:spChg>
        <pc:spChg chg="del">
          <ac:chgData name="Mooney Erika R" userId="S::erika.r.mooney@dhsoha.state.or.us::d0b1f501-c23c-4a99-b572-4dd7a2355394" providerId="AD" clId="Web-{158899AC-B902-4972-9882-BC4C3D2040D5}" dt="2021-06-09T22:47:06.244" v="358"/>
          <ac:spMkLst>
            <pc:docMk/>
            <pc:sldMk cId="1838762907" sldId="2092"/>
            <ac:spMk id="4" creationId="{E8620CD7-77D2-4659-8A99-5DEAB6060136}"/>
          </ac:spMkLst>
        </pc:spChg>
      </pc:sldChg>
    </pc:docChg>
  </pc:docChgLst>
  <pc:docChgLst>
    <pc:chgData name="Burkus Heather D" userId="S::heather.d.burkus@dhsoha.state.or.us::82da8e3a-e2fd-48da-9173-f6efe4e9e7f4" providerId="AD" clId="Web-{1E95F478-F0DF-4950-AA50-E944D99736FC}"/>
    <pc:docChg chg="modSld">
      <pc:chgData name="Burkus Heather D" userId="S::heather.d.burkus@dhsoha.state.or.us::82da8e3a-e2fd-48da-9173-f6efe4e9e7f4" providerId="AD" clId="Web-{1E95F478-F0DF-4950-AA50-E944D99736FC}" dt="2021-06-10T21:07:43.851" v="320" actId="20577"/>
      <pc:docMkLst>
        <pc:docMk/>
      </pc:docMkLst>
      <pc:sldChg chg="modSp modNotes">
        <pc:chgData name="Burkus Heather D" userId="S::heather.d.burkus@dhsoha.state.or.us::82da8e3a-e2fd-48da-9173-f6efe4e9e7f4" providerId="AD" clId="Web-{1E95F478-F0DF-4950-AA50-E944D99736FC}" dt="2021-06-10T21:07:43.851" v="320" actId="20577"/>
        <pc:sldMkLst>
          <pc:docMk/>
          <pc:sldMk cId="619972361" sldId="2090"/>
        </pc:sldMkLst>
        <pc:spChg chg="mod">
          <ac:chgData name="Burkus Heather D" userId="S::heather.d.burkus@dhsoha.state.or.us::82da8e3a-e2fd-48da-9173-f6efe4e9e7f4" providerId="AD" clId="Web-{1E95F478-F0DF-4950-AA50-E944D99736FC}" dt="2021-06-10T21:07:17.381" v="315" actId="1076"/>
          <ac:spMkLst>
            <pc:docMk/>
            <pc:sldMk cId="619972361" sldId="2090"/>
            <ac:spMk id="2" creationId="{0E0ED6A1-6251-45E1-8AFD-D853CB82205D}"/>
          </ac:spMkLst>
        </pc:spChg>
        <pc:spChg chg="mod">
          <ac:chgData name="Burkus Heather D" userId="S::heather.d.burkus@dhsoha.state.or.us::82da8e3a-e2fd-48da-9173-f6efe4e9e7f4" providerId="AD" clId="Web-{1E95F478-F0DF-4950-AA50-E944D99736FC}" dt="2021-06-10T21:07:20.616" v="316" actId="1076"/>
          <ac:spMkLst>
            <pc:docMk/>
            <pc:sldMk cId="619972361" sldId="2090"/>
            <ac:spMk id="4" creationId="{3F3201C8-D7FF-48D2-932A-37521AB59148}"/>
          </ac:spMkLst>
        </pc:spChg>
        <pc:spChg chg="mod">
          <ac:chgData name="Burkus Heather D" userId="S::heather.d.burkus@dhsoha.state.or.us::82da8e3a-e2fd-48da-9173-f6efe4e9e7f4" providerId="AD" clId="Web-{1E95F478-F0DF-4950-AA50-E944D99736FC}" dt="2021-06-10T21:07:43.851" v="320" actId="20577"/>
          <ac:spMkLst>
            <pc:docMk/>
            <pc:sldMk cId="619972361" sldId="2090"/>
            <ac:spMk id="6" creationId="{CC714093-B8CD-4E30-8DC4-A44A747B2B27}"/>
          </ac:spMkLst>
        </pc:spChg>
        <pc:spChg chg="mod">
          <ac:chgData name="Burkus Heather D" userId="S::heather.d.burkus@dhsoha.state.or.us::82da8e3a-e2fd-48da-9173-f6efe4e9e7f4" providerId="AD" clId="Web-{1E95F478-F0DF-4950-AA50-E944D99736FC}" dt="2021-06-10T21:07:27.647" v="317" actId="1076"/>
          <ac:spMkLst>
            <pc:docMk/>
            <pc:sldMk cId="619972361" sldId="2090"/>
            <ac:spMk id="7" creationId="{CB998736-3984-430C-AA27-574CF0EE1095}"/>
          </ac:spMkLst>
        </pc:spChg>
      </pc:sldChg>
    </pc:docChg>
  </pc:docChgLst>
  <pc:docChgLst>
    <pc:chgData name="Mooney Erika R" userId="S::erika.r.mooney@dhsoha.state.or.us::d0b1f501-c23c-4a99-b572-4dd7a2355394" providerId="AD" clId="Web-{AFCDD911-45DE-46CC-B288-1ACEA0A3DD52}"/>
    <pc:docChg chg="addSld modSld">
      <pc:chgData name="Mooney Erika R" userId="S::erika.r.mooney@dhsoha.state.or.us::d0b1f501-c23c-4a99-b572-4dd7a2355394" providerId="AD" clId="Web-{AFCDD911-45DE-46CC-B288-1ACEA0A3DD52}" dt="2021-06-09T23:31:42.694" v="46" actId="20577"/>
      <pc:docMkLst>
        <pc:docMk/>
      </pc:docMkLst>
      <pc:sldChg chg="modSp">
        <pc:chgData name="Mooney Erika R" userId="S::erika.r.mooney@dhsoha.state.or.us::d0b1f501-c23c-4a99-b572-4dd7a2355394" providerId="AD" clId="Web-{AFCDD911-45DE-46CC-B288-1ACEA0A3DD52}" dt="2021-06-09T23:31:42.694" v="46" actId="20577"/>
        <pc:sldMkLst>
          <pc:docMk/>
          <pc:sldMk cId="3250211883" sldId="2093"/>
        </pc:sldMkLst>
        <pc:spChg chg="mod">
          <ac:chgData name="Mooney Erika R" userId="S::erika.r.mooney@dhsoha.state.or.us::d0b1f501-c23c-4a99-b572-4dd7a2355394" providerId="AD" clId="Web-{AFCDD911-45DE-46CC-B288-1ACEA0A3DD52}" dt="2021-06-09T23:31:42.694" v="46" actId="20577"/>
          <ac:spMkLst>
            <pc:docMk/>
            <pc:sldMk cId="3250211883" sldId="2093"/>
            <ac:spMk id="4" creationId="{3F3201C8-D7FF-48D2-932A-37521AB59148}"/>
          </ac:spMkLst>
        </pc:spChg>
      </pc:sldChg>
      <pc:sldChg chg="modSp add replId">
        <pc:chgData name="Mooney Erika R" userId="S::erika.r.mooney@dhsoha.state.or.us::d0b1f501-c23c-4a99-b572-4dd7a2355394" providerId="AD" clId="Web-{AFCDD911-45DE-46CC-B288-1ACEA0A3DD52}" dt="2021-06-09T23:31:32.959" v="41" actId="20577"/>
        <pc:sldMkLst>
          <pc:docMk/>
          <pc:sldMk cId="1841394788" sldId="2096"/>
        </pc:sldMkLst>
        <pc:spChg chg="mod">
          <ac:chgData name="Mooney Erika R" userId="S::erika.r.mooney@dhsoha.state.or.us::d0b1f501-c23c-4a99-b572-4dd7a2355394" providerId="AD" clId="Web-{AFCDD911-45DE-46CC-B288-1ACEA0A3DD52}" dt="2021-06-09T23:31:32.959" v="41" actId="20577"/>
          <ac:spMkLst>
            <pc:docMk/>
            <pc:sldMk cId="1841394788" sldId="2096"/>
            <ac:spMk id="4" creationId="{3F3201C8-D7FF-48D2-932A-37521AB59148}"/>
          </ac:spMkLst>
        </pc:spChg>
      </pc:sldChg>
    </pc:docChg>
  </pc:docChgLst>
  <pc:docChgLst>
    <pc:chgData name="Burkus Heather D" userId="S::heather.d.burkus@dhsoha.state.or.us::82da8e3a-e2fd-48da-9173-f6efe4e9e7f4" providerId="AD" clId="Web-{4958EE51-7F25-49A0-9ECF-F1B45C40B532}"/>
    <pc:docChg chg="modSld">
      <pc:chgData name="Burkus Heather D" userId="S::heather.d.burkus@dhsoha.state.or.us::82da8e3a-e2fd-48da-9173-f6efe4e9e7f4" providerId="AD" clId="Web-{4958EE51-7F25-49A0-9ECF-F1B45C40B532}" dt="2021-06-10T21:45:22.142" v="8" actId="20577"/>
      <pc:docMkLst>
        <pc:docMk/>
      </pc:docMkLst>
      <pc:sldChg chg="modSp">
        <pc:chgData name="Burkus Heather D" userId="S::heather.d.burkus@dhsoha.state.or.us::82da8e3a-e2fd-48da-9173-f6efe4e9e7f4" providerId="AD" clId="Web-{4958EE51-7F25-49A0-9ECF-F1B45C40B532}" dt="2021-06-10T21:45:22.142" v="8" actId="20577"/>
        <pc:sldMkLst>
          <pc:docMk/>
          <pc:sldMk cId="3420731411" sldId="2088"/>
        </pc:sldMkLst>
        <pc:spChg chg="mod">
          <ac:chgData name="Burkus Heather D" userId="S::heather.d.burkus@dhsoha.state.or.us::82da8e3a-e2fd-48da-9173-f6efe4e9e7f4" providerId="AD" clId="Web-{4958EE51-7F25-49A0-9ECF-F1B45C40B532}" dt="2021-06-10T21:45:22.142" v="8" actId="20577"/>
          <ac:spMkLst>
            <pc:docMk/>
            <pc:sldMk cId="3420731411" sldId="2088"/>
            <ac:spMk id="4" creationId="{6EA13D77-F188-4737-BDE8-6465E58A5283}"/>
          </ac:spMkLst>
        </pc:spChg>
      </pc:sldChg>
    </pc:docChg>
  </pc:docChgLst>
  <pc:docChgLst>
    <pc:chgData name="Mooney Erika R" userId="S::erika.r.mooney@dhsoha.state.or.us::d0b1f501-c23c-4a99-b572-4dd7a2355394" providerId="AD" clId="Web-{0B099009-B883-4165-8303-5CF76C76D1F7}"/>
    <pc:docChg chg="addSld delSld modSld">
      <pc:chgData name="Mooney Erika R" userId="S::erika.r.mooney@dhsoha.state.or.us::d0b1f501-c23c-4a99-b572-4dd7a2355394" providerId="AD" clId="Web-{0B099009-B883-4165-8303-5CF76C76D1F7}" dt="2021-06-09T23:27:00.011" v="398"/>
      <pc:docMkLst>
        <pc:docMk/>
      </pc:docMkLst>
      <pc:sldChg chg="addSp delSp modSp del">
        <pc:chgData name="Mooney Erika R" userId="S::erika.r.mooney@dhsoha.state.or.us::d0b1f501-c23c-4a99-b572-4dd7a2355394" providerId="AD" clId="Web-{0B099009-B883-4165-8303-5CF76C76D1F7}" dt="2021-06-09T23:27:00.011" v="398"/>
        <pc:sldMkLst>
          <pc:docMk/>
          <pc:sldMk cId="1202510898" sldId="2085"/>
        </pc:sldMkLst>
        <pc:spChg chg="del mod">
          <ac:chgData name="Mooney Erika R" userId="S::erika.r.mooney@dhsoha.state.or.us::d0b1f501-c23c-4a99-b572-4dd7a2355394" providerId="AD" clId="Web-{0B099009-B883-4165-8303-5CF76C76D1F7}" dt="2021-06-09T23:26:44.199" v="394"/>
          <ac:spMkLst>
            <pc:docMk/>
            <pc:sldMk cId="1202510898" sldId="2085"/>
            <ac:spMk id="2" creationId="{0E0ED6A1-6251-45E1-8AFD-D853CB82205D}"/>
          </ac:spMkLst>
        </pc:spChg>
        <pc:spChg chg="del">
          <ac:chgData name="Mooney Erika R" userId="S::erika.r.mooney@dhsoha.state.or.us::d0b1f501-c23c-4a99-b572-4dd7a2355394" providerId="AD" clId="Web-{0B099009-B883-4165-8303-5CF76C76D1F7}" dt="2021-06-09T23:16:39.611" v="59"/>
          <ac:spMkLst>
            <pc:docMk/>
            <pc:sldMk cId="1202510898" sldId="2085"/>
            <ac:spMk id="3" creationId="{8C3724F1-FB96-4D81-AD83-B4A2432EFB6E}"/>
          </ac:spMkLst>
        </pc:spChg>
        <pc:spChg chg="del mod">
          <ac:chgData name="Mooney Erika R" userId="S::erika.r.mooney@dhsoha.state.or.us::d0b1f501-c23c-4a99-b572-4dd7a2355394" providerId="AD" clId="Web-{0B099009-B883-4165-8303-5CF76C76D1F7}" dt="2021-06-09T23:26:33.198" v="391"/>
          <ac:spMkLst>
            <pc:docMk/>
            <pc:sldMk cId="1202510898" sldId="2085"/>
            <ac:spMk id="4" creationId="{3F3201C8-D7FF-48D2-932A-37521AB59148}"/>
          </ac:spMkLst>
        </pc:spChg>
        <pc:spChg chg="add mod">
          <ac:chgData name="Mooney Erika R" userId="S::erika.r.mooney@dhsoha.state.or.us::d0b1f501-c23c-4a99-b572-4dd7a2355394" providerId="AD" clId="Web-{0B099009-B883-4165-8303-5CF76C76D1F7}" dt="2021-06-09T23:26:33.198" v="391"/>
          <ac:spMkLst>
            <pc:docMk/>
            <pc:sldMk cId="1202510898" sldId="2085"/>
            <ac:spMk id="6" creationId="{1CAED1D6-EFA7-4EFB-A7B8-9DC4AF65B314}"/>
          </ac:spMkLst>
        </pc:spChg>
        <pc:spChg chg="add mod">
          <ac:chgData name="Mooney Erika R" userId="S::erika.r.mooney@dhsoha.state.or.us::d0b1f501-c23c-4a99-b572-4dd7a2355394" providerId="AD" clId="Web-{0B099009-B883-4165-8303-5CF76C76D1F7}" dt="2021-06-09T23:26:44.199" v="394"/>
          <ac:spMkLst>
            <pc:docMk/>
            <pc:sldMk cId="1202510898" sldId="2085"/>
            <ac:spMk id="9" creationId="{AE1E2CF1-B8C4-4FAA-8CC1-73B83DAC0EBF}"/>
          </ac:spMkLst>
        </pc:spChg>
      </pc:sldChg>
      <pc:sldChg chg="addSp delSp modSp">
        <pc:chgData name="Mooney Erika R" userId="S::erika.r.mooney@dhsoha.state.or.us::d0b1f501-c23c-4a99-b572-4dd7a2355394" providerId="AD" clId="Web-{0B099009-B883-4165-8303-5CF76C76D1F7}" dt="2021-06-09T23:26:54.746" v="397" actId="1076"/>
        <pc:sldMkLst>
          <pc:docMk/>
          <pc:sldMk cId="619972361" sldId="2090"/>
        </pc:sldMkLst>
        <pc:spChg chg="mod">
          <ac:chgData name="Mooney Erika R" userId="S::erika.r.mooney@dhsoha.state.or.us::d0b1f501-c23c-4a99-b572-4dd7a2355394" providerId="AD" clId="Web-{0B099009-B883-4165-8303-5CF76C76D1F7}" dt="2021-06-09T23:17:14.565" v="74" actId="20577"/>
          <ac:spMkLst>
            <pc:docMk/>
            <pc:sldMk cId="619972361" sldId="2090"/>
            <ac:spMk id="2" creationId="{0E0ED6A1-6251-45E1-8AFD-D853CB82205D}"/>
          </ac:spMkLst>
        </pc:spChg>
        <pc:spChg chg="del">
          <ac:chgData name="Mooney Erika R" userId="S::erika.r.mooney@dhsoha.state.or.us::d0b1f501-c23c-4a99-b572-4dd7a2355394" providerId="AD" clId="Web-{0B099009-B883-4165-8303-5CF76C76D1F7}" dt="2021-06-09T23:17:16.690" v="75"/>
          <ac:spMkLst>
            <pc:docMk/>
            <pc:sldMk cId="619972361" sldId="2090"/>
            <ac:spMk id="3" creationId="{8C3724F1-FB96-4D81-AD83-B4A2432EFB6E}"/>
          </ac:spMkLst>
        </pc:spChg>
        <pc:spChg chg="mod">
          <ac:chgData name="Mooney Erika R" userId="S::erika.r.mooney@dhsoha.state.or.us::d0b1f501-c23c-4a99-b572-4dd7a2355394" providerId="AD" clId="Web-{0B099009-B883-4165-8303-5CF76C76D1F7}" dt="2021-06-09T23:22:24.163" v="317" actId="20577"/>
          <ac:spMkLst>
            <pc:docMk/>
            <pc:sldMk cId="619972361" sldId="2090"/>
            <ac:spMk id="4" creationId="{3F3201C8-D7FF-48D2-932A-37521AB59148}"/>
          </ac:spMkLst>
        </pc:spChg>
        <pc:spChg chg="add mod">
          <ac:chgData name="Mooney Erika R" userId="S::erika.r.mooney@dhsoha.state.or.us::d0b1f501-c23c-4a99-b572-4dd7a2355394" providerId="AD" clId="Web-{0B099009-B883-4165-8303-5CF76C76D1F7}" dt="2021-06-09T23:26:40.292" v="393" actId="1076"/>
          <ac:spMkLst>
            <pc:docMk/>
            <pc:sldMk cId="619972361" sldId="2090"/>
            <ac:spMk id="6" creationId="{CC714093-B8CD-4E30-8DC4-A44A747B2B27}"/>
          </ac:spMkLst>
        </pc:spChg>
        <pc:spChg chg="add mod">
          <ac:chgData name="Mooney Erika R" userId="S::erika.r.mooney@dhsoha.state.or.us::d0b1f501-c23c-4a99-b572-4dd7a2355394" providerId="AD" clId="Web-{0B099009-B883-4165-8303-5CF76C76D1F7}" dt="2021-06-09T23:26:54.746" v="397" actId="1076"/>
          <ac:spMkLst>
            <pc:docMk/>
            <pc:sldMk cId="619972361" sldId="2090"/>
            <ac:spMk id="7" creationId="{CB998736-3984-430C-AA27-574CF0EE1095}"/>
          </ac:spMkLst>
        </pc:spChg>
      </pc:sldChg>
      <pc:sldChg chg="delSp modSp add replId">
        <pc:chgData name="Mooney Erika R" userId="S::erika.r.mooney@dhsoha.state.or.us::d0b1f501-c23c-4a99-b572-4dd7a2355394" providerId="AD" clId="Web-{0B099009-B883-4165-8303-5CF76C76D1F7}" dt="2021-06-09T23:16:19.970" v="42" actId="20577"/>
        <pc:sldMkLst>
          <pc:docMk/>
          <pc:sldMk cId="3250211883" sldId="2093"/>
        </pc:sldMkLst>
        <pc:spChg chg="mod">
          <ac:chgData name="Mooney Erika R" userId="S::erika.r.mooney@dhsoha.state.or.us::d0b1f501-c23c-4a99-b572-4dd7a2355394" providerId="AD" clId="Web-{0B099009-B883-4165-8303-5CF76C76D1F7}" dt="2021-06-09T23:16:02.891" v="19" actId="14100"/>
          <ac:spMkLst>
            <pc:docMk/>
            <pc:sldMk cId="3250211883" sldId="2093"/>
            <ac:spMk id="2" creationId="{0E0ED6A1-6251-45E1-8AFD-D853CB82205D}"/>
          </ac:spMkLst>
        </pc:spChg>
        <pc:spChg chg="del">
          <ac:chgData name="Mooney Erika R" userId="S::erika.r.mooney@dhsoha.state.or.us::d0b1f501-c23c-4a99-b572-4dd7a2355394" providerId="AD" clId="Web-{0B099009-B883-4165-8303-5CF76C76D1F7}" dt="2021-06-09T23:16:04.766" v="20"/>
          <ac:spMkLst>
            <pc:docMk/>
            <pc:sldMk cId="3250211883" sldId="2093"/>
            <ac:spMk id="3" creationId="{8C3724F1-FB96-4D81-AD83-B4A2432EFB6E}"/>
          </ac:spMkLst>
        </pc:spChg>
        <pc:spChg chg="mod">
          <ac:chgData name="Mooney Erika R" userId="S::erika.r.mooney@dhsoha.state.or.us::d0b1f501-c23c-4a99-b572-4dd7a2355394" providerId="AD" clId="Web-{0B099009-B883-4165-8303-5CF76C76D1F7}" dt="2021-06-09T23:16:19.970" v="42" actId="20577"/>
          <ac:spMkLst>
            <pc:docMk/>
            <pc:sldMk cId="3250211883" sldId="2093"/>
            <ac:spMk id="4" creationId="{3F3201C8-D7FF-48D2-932A-37521AB59148}"/>
          </ac:spMkLst>
        </pc:spChg>
      </pc:sldChg>
      <pc:sldChg chg="addSp modSp add replId">
        <pc:chgData name="Mooney Erika R" userId="S::erika.r.mooney@dhsoha.state.or.us::d0b1f501-c23c-4a99-b572-4dd7a2355394" providerId="AD" clId="Web-{0B099009-B883-4165-8303-5CF76C76D1F7}" dt="2021-06-09T23:22:04.257" v="316" actId="20577"/>
        <pc:sldMkLst>
          <pc:docMk/>
          <pc:sldMk cId="1714495816" sldId="2094"/>
        </pc:sldMkLst>
        <pc:spChg chg="mod">
          <ac:chgData name="Mooney Erika R" userId="S::erika.r.mooney@dhsoha.state.or.us::d0b1f501-c23c-4a99-b572-4dd7a2355394" providerId="AD" clId="Web-{0B099009-B883-4165-8303-5CF76C76D1F7}" dt="2021-06-09T23:17:52.862" v="96" actId="20577"/>
          <ac:spMkLst>
            <pc:docMk/>
            <pc:sldMk cId="1714495816" sldId="2094"/>
            <ac:spMk id="2" creationId="{0E0ED6A1-6251-45E1-8AFD-D853CB82205D}"/>
          </ac:spMkLst>
        </pc:spChg>
        <pc:spChg chg="mod">
          <ac:chgData name="Mooney Erika R" userId="S::erika.r.mooney@dhsoha.state.or.us::d0b1f501-c23c-4a99-b572-4dd7a2355394" providerId="AD" clId="Web-{0B099009-B883-4165-8303-5CF76C76D1F7}" dt="2021-06-09T23:22:04.257" v="316" actId="20577"/>
          <ac:spMkLst>
            <pc:docMk/>
            <pc:sldMk cId="1714495816" sldId="2094"/>
            <ac:spMk id="4" creationId="{3F3201C8-D7FF-48D2-932A-37521AB59148}"/>
          </ac:spMkLst>
        </pc:spChg>
        <pc:graphicFrameChg chg="add mod modGraphic">
          <ac:chgData name="Mooney Erika R" userId="S::erika.r.mooney@dhsoha.state.or.us::d0b1f501-c23c-4a99-b572-4dd7a2355394" providerId="AD" clId="Web-{0B099009-B883-4165-8303-5CF76C76D1F7}" dt="2021-06-09T23:21:56.178" v="314"/>
          <ac:graphicFrameMkLst>
            <pc:docMk/>
            <pc:sldMk cId="1714495816" sldId="2094"/>
            <ac:graphicFrameMk id="5" creationId="{AE42A037-2B31-4D9A-8587-8E4234A1B548}"/>
          </ac:graphicFrameMkLst>
        </pc:graphicFrameChg>
      </pc:sldChg>
      <pc:sldChg chg="addSp delSp modSp new mod setBg modClrScheme setClrOvrMap chgLayout">
        <pc:chgData name="Mooney Erika R" userId="S::erika.r.mooney@dhsoha.state.or.us::d0b1f501-c23c-4a99-b572-4dd7a2355394" providerId="AD" clId="Web-{0B099009-B883-4165-8303-5CF76C76D1F7}" dt="2021-06-09T23:25:01.353" v="336" actId="20577"/>
        <pc:sldMkLst>
          <pc:docMk/>
          <pc:sldMk cId="2203141175" sldId="2095"/>
        </pc:sldMkLst>
        <pc:spChg chg="mod ord">
          <ac:chgData name="Mooney Erika R" userId="S::erika.r.mooney@dhsoha.state.or.us::d0b1f501-c23c-4a99-b572-4dd7a2355394" providerId="AD" clId="Web-{0B099009-B883-4165-8303-5CF76C76D1F7}" dt="2021-06-09T23:25:01.353" v="336" actId="20577"/>
          <ac:spMkLst>
            <pc:docMk/>
            <pc:sldMk cId="2203141175" sldId="2095"/>
            <ac:spMk id="2" creationId="{D566765B-40AD-46A6-AFAC-E3188A51E5B8}"/>
          </ac:spMkLst>
        </pc:spChg>
        <pc:spChg chg="del mod ord">
          <ac:chgData name="Mooney Erika R" userId="S::erika.r.mooney@dhsoha.state.or.us::d0b1f501-c23c-4a99-b572-4dd7a2355394" providerId="AD" clId="Web-{0B099009-B883-4165-8303-5CF76C76D1F7}" dt="2021-06-09T23:24:43.915" v="325"/>
          <ac:spMkLst>
            <pc:docMk/>
            <pc:sldMk cId="2203141175" sldId="2095"/>
            <ac:spMk id="3" creationId="{6D163AF8-48C3-49F9-A8AE-3CCBE6D64B1E}"/>
          </ac:spMkLst>
        </pc:spChg>
        <pc:spChg chg="del">
          <ac:chgData name="Mooney Erika R" userId="S::erika.r.mooney@dhsoha.state.or.us::d0b1f501-c23c-4a99-b572-4dd7a2355394" providerId="AD" clId="Web-{0B099009-B883-4165-8303-5CF76C76D1F7}" dt="2021-06-09T23:24:33.478" v="319"/>
          <ac:spMkLst>
            <pc:docMk/>
            <pc:sldMk cId="2203141175" sldId="2095"/>
            <ac:spMk id="4" creationId="{2BAF1DD5-B708-4194-8FD5-1386158D7A14}"/>
          </ac:spMkLst>
        </pc:spChg>
        <pc:spChg chg="del">
          <ac:chgData name="Mooney Erika R" userId="S::erika.r.mooney@dhsoha.state.or.us::d0b1f501-c23c-4a99-b572-4dd7a2355394" providerId="AD" clId="Web-{0B099009-B883-4165-8303-5CF76C76D1F7}" dt="2021-06-09T23:24:33.478" v="319"/>
          <ac:spMkLst>
            <pc:docMk/>
            <pc:sldMk cId="2203141175" sldId="2095"/>
            <ac:spMk id="5" creationId="{5BEDBF99-D426-423F-B78B-A97409F7384B}"/>
          </ac:spMkLst>
        </pc:spChg>
        <pc:spChg chg="del">
          <ac:chgData name="Mooney Erika R" userId="S::erika.r.mooney@dhsoha.state.or.us::d0b1f501-c23c-4a99-b572-4dd7a2355394" providerId="AD" clId="Web-{0B099009-B883-4165-8303-5CF76C76D1F7}" dt="2021-06-09T23:24:33.478" v="319"/>
          <ac:spMkLst>
            <pc:docMk/>
            <pc:sldMk cId="2203141175" sldId="2095"/>
            <ac:spMk id="6" creationId="{DC56337B-6BD1-4AEE-B57E-BF6A6C4D0CCC}"/>
          </ac:spMkLst>
        </pc:spChg>
        <pc:spChg chg="del mod ord">
          <ac:chgData name="Mooney Erika R" userId="S::erika.r.mooney@dhsoha.state.or.us::d0b1f501-c23c-4a99-b572-4dd7a2355394" providerId="AD" clId="Web-{0B099009-B883-4165-8303-5CF76C76D1F7}" dt="2021-06-09T23:24:44.603" v="326"/>
          <ac:spMkLst>
            <pc:docMk/>
            <pc:sldMk cId="2203141175" sldId="2095"/>
            <ac:spMk id="7" creationId="{0F97D9E7-A632-4F48-B157-3E26EE0A28DE}"/>
          </ac:spMkLst>
        </pc:spChg>
        <pc:spChg chg="mod ord">
          <ac:chgData name="Mooney Erika R" userId="S::erika.r.mooney@dhsoha.state.or.us::d0b1f501-c23c-4a99-b572-4dd7a2355394" providerId="AD" clId="Web-{0B099009-B883-4165-8303-5CF76C76D1F7}" dt="2021-06-09T23:24:36.540" v="320"/>
          <ac:spMkLst>
            <pc:docMk/>
            <pc:sldMk cId="2203141175" sldId="2095"/>
            <ac:spMk id="8" creationId="{847E773B-85CD-4062-A32E-ECF7C6F7B523}"/>
          </ac:spMkLst>
        </pc:spChg>
        <pc:spChg chg="add">
          <ac:chgData name="Mooney Erika R" userId="S::erika.r.mooney@dhsoha.state.or.us::d0b1f501-c23c-4a99-b572-4dd7a2355394" providerId="AD" clId="Web-{0B099009-B883-4165-8303-5CF76C76D1F7}" dt="2021-06-09T23:24:36.540" v="320"/>
          <ac:spMkLst>
            <pc:docMk/>
            <pc:sldMk cId="2203141175" sldId="2095"/>
            <ac:spMk id="13" creationId="{27577DEC-D9A5-404D-9789-702F4319BEC8}"/>
          </ac:spMkLst>
        </pc:spChg>
        <pc:grpChg chg="add">
          <ac:chgData name="Mooney Erika R" userId="S::erika.r.mooney@dhsoha.state.or.us::d0b1f501-c23c-4a99-b572-4dd7a2355394" providerId="AD" clId="Web-{0B099009-B883-4165-8303-5CF76C76D1F7}" dt="2021-06-09T23:24:36.540" v="320"/>
          <ac:grpSpMkLst>
            <pc:docMk/>
            <pc:sldMk cId="2203141175" sldId="2095"/>
            <ac:grpSpMk id="15" creationId="{CEEA9366-CEA8-4F23-B065-4337F0D836FE}"/>
          </ac:grpSpMkLst>
        </pc:grpChg>
      </pc:sldChg>
    </pc:docChg>
  </pc:docChgLst>
  <pc:docChgLst>
    <pc:chgData name="TURNER Katrina" userId="edabac6d-a246-410f-b2c4-f41774866ea3" providerId="ADAL" clId="{8FEF1B5F-80F9-412A-BD3A-66A77968BC18}"/>
    <pc:docChg chg="undo custSel addSld delSld modSld">
      <pc:chgData name="TURNER Katrina" userId="edabac6d-a246-410f-b2c4-f41774866ea3" providerId="ADAL" clId="{8FEF1B5F-80F9-412A-BD3A-66A77968BC18}" dt="2021-06-10T21:58:00.818" v="1739" actId="20577"/>
      <pc:docMkLst>
        <pc:docMk/>
      </pc:docMkLst>
      <pc:sldChg chg="modSp mod">
        <pc:chgData name="TURNER Katrina" userId="edabac6d-a246-410f-b2c4-f41774866ea3" providerId="ADAL" clId="{8FEF1B5F-80F9-412A-BD3A-66A77968BC18}" dt="2021-06-10T21:11:02.803" v="1390" actId="113"/>
        <pc:sldMkLst>
          <pc:docMk/>
          <pc:sldMk cId="692921859" sldId="2084"/>
        </pc:sldMkLst>
        <pc:spChg chg="mod">
          <ac:chgData name="TURNER Katrina" userId="edabac6d-a246-410f-b2c4-f41774866ea3" providerId="ADAL" clId="{8FEF1B5F-80F9-412A-BD3A-66A77968BC18}" dt="2021-06-10T21:11:02.803" v="1390" actId="113"/>
          <ac:spMkLst>
            <pc:docMk/>
            <pc:sldMk cId="692921859" sldId="2084"/>
            <ac:spMk id="6" creationId="{E927A9C0-F377-4040-A1D8-773CBEAC3CB8}"/>
          </ac:spMkLst>
        </pc:spChg>
      </pc:sldChg>
      <pc:sldChg chg="modSp mod">
        <pc:chgData name="TURNER Katrina" userId="edabac6d-a246-410f-b2c4-f41774866ea3" providerId="ADAL" clId="{8FEF1B5F-80F9-412A-BD3A-66A77968BC18}" dt="2021-06-10T21:58:00.818" v="1739" actId="20577"/>
        <pc:sldMkLst>
          <pc:docMk/>
          <pc:sldMk cId="3420731411" sldId="2088"/>
        </pc:sldMkLst>
        <pc:spChg chg="mod">
          <ac:chgData name="TURNER Katrina" userId="edabac6d-a246-410f-b2c4-f41774866ea3" providerId="ADAL" clId="{8FEF1B5F-80F9-412A-BD3A-66A77968BC18}" dt="2021-06-10T21:58:00.818" v="1739" actId="20577"/>
          <ac:spMkLst>
            <pc:docMk/>
            <pc:sldMk cId="3420731411" sldId="2088"/>
            <ac:spMk id="4" creationId="{6EA13D77-F188-4737-BDE8-6465E58A5283}"/>
          </ac:spMkLst>
        </pc:spChg>
      </pc:sldChg>
      <pc:sldChg chg="addSp delSp modSp mod">
        <pc:chgData name="TURNER Katrina" userId="edabac6d-a246-410f-b2c4-f41774866ea3" providerId="ADAL" clId="{8FEF1B5F-80F9-412A-BD3A-66A77968BC18}" dt="2021-06-10T21:14:09.873" v="1433" actId="20577"/>
        <pc:sldMkLst>
          <pc:docMk/>
          <pc:sldMk cId="619972361" sldId="2090"/>
        </pc:sldMkLst>
        <pc:spChg chg="mod">
          <ac:chgData name="TURNER Katrina" userId="edabac6d-a246-410f-b2c4-f41774866ea3" providerId="ADAL" clId="{8FEF1B5F-80F9-412A-BD3A-66A77968BC18}" dt="2021-06-10T21:14:09.873" v="1433" actId="20577"/>
          <ac:spMkLst>
            <pc:docMk/>
            <pc:sldMk cId="619972361" sldId="2090"/>
            <ac:spMk id="4" creationId="{3F3201C8-D7FF-48D2-932A-37521AB59148}"/>
          </ac:spMkLst>
        </pc:spChg>
        <pc:picChg chg="add del">
          <ac:chgData name="TURNER Katrina" userId="edabac6d-a246-410f-b2c4-f41774866ea3" providerId="ADAL" clId="{8FEF1B5F-80F9-412A-BD3A-66A77968BC18}" dt="2021-06-10T00:23:44.423" v="88"/>
          <ac:picMkLst>
            <pc:docMk/>
            <pc:sldMk cId="619972361" sldId="2090"/>
            <ac:picMk id="3" creationId="{2557E984-C6AF-44C0-A305-5C75D88B854C}"/>
          </ac:picMkLst>
        </pc:picChg>
        <pc:picChg chg="add del mod">
          <ac:chgData name="TURNER Katrina" userId="edabac6d-a246-410f-b2c4-f41774866ea3" providerId="ADAL" clId="{8FEF1B5F-80F9-412A-BD3A-66A77968BC18}" dt="2021-06-10T00:24:20.733" v="90" actId="478"/>
          <ac:picMkLst>
            <pc:docMk/>
            <pc:sldMk cId="619972361" sldId="2090"/>
            <ac:picMk id="9" creationId="{359DF7EE-928B-404F-B3E8-53F18038ABFF}"/>
          </ac:picMkLst>
        </pc:picChg>
      </pc:sldChg>
      <pc:sldChg chg="addSp delSp modSp mod setBg">
        <pc:chgData name="TURNER Katrina" userId="edabac6d-a246-410f-b2c4-f41774866ea3" providerId="ADAL" clId="{8FEF1B5F-80F9-412A-BD3A-66A77968BC18}" dt="2021-06-10T00:05:38.349" v="85" actId="1076"/>
        <pc:sldMkLst>
          <pc:docMk/>
          <pc:sldMk cId="3685199594" sldId="2091"/>
        </pc:sldMkLst>
        <pc:spChg chg="mod ord">
          <ac:chgData name="TURNER Katrina" userId="edabac6d-a246-410f-b2c4-f41774866ea3" providerId="ADAL" clId="{8FEF1B5F-80F9-412A-BD3A-66A77968BC18}" dt="2021-06-10T00:03:01" v="68" actId="1076"/>
          <ac:spMkLst>
            <pc:docMk/>
            <pc:sldMk cId="3685199594" sldId="2091"/>
            <ac:spMk id="2" creationId="{E95CE8AD-FED5-4BC9-B926-C50307EC66A7}"/>
          </ac:spMkLst>
        </pc:spChg>
        <pc:spChg chg="del mod">
          <ac:chgData name="TURNER Katrina" userId="edabac6d-a246-410f-b2c4-f41774866ea3" providerId="ADAL" clId="{8FEF1B5F-80F9-412A-BD3A-66A77968BC18}" dt="2021-06-09T23:59:50.160" v="50" actId="26606"/>
          <ac:spMkLst>
            <pc:docMk/>
            <pc:sldMk cId="3685199594" sldId="2091"/>
            <ac:spMk id="3" creationId="{5D967A8F-D2A9-460B-BFD6-20F4293E278B}"/>
          </ac:spMkLst>
        </pc:spChg>
        <pc:spChg chg="mod">
          <ac:chgData name="TURNER Katrina" userId="edabac6d-a246-410f-b2c4-f41774866ea3" providerId="ADAL" clId="{8FEF1B5F-80F9-412A-BD3A-66A77968BC18}" dt="2021-06-09T23:59:50.160" v="50" actId="26606"/>
          <ac:spMkLst>
            <pc:docMk/>
            <pc:sldMk cId="3685199594" sldId="2091"/>
            <ac:spMk id="5" creationId="{266783A6-FF3C-438B-B5C0-6C079185E5F4}"/>
          </ac:spMkLst>
        </pc:spChg>
        <pc:spChg chg="del mod">
          <ac:chgData name="TURNER Katrina" userId="edabac6d-a246-410f-b2c4-f41774866ea3" providerId="ADAL" clId="{8FEF1B5F-80F9-412A-BD3A-66A77968BC18}" dt="2021-06-09T23:59:41.511" v="48" actId="478"/>
          <ac:spMkLst>
            <pc:docMk/>
            <pc:sldMk cId="3685199594" sldId="2091"/>
            <ac:spMk id="6" creationId="{2132F5C8-F63E-43BA-8830-A47ABFA7A8B6}"/>
          </ac:spMkLst>
        </pc:spChg>
        <pc:spChg chg="add">
          <ac:chgData name="TURNER Katrina" userId="edabac6d-a246-410f-b2c4-f41774866ea3" providerId="ADAL" clId="{8FEF1B5F-80F9-412A-BD3A-66A77968BC18}" dt="2021-06-09T23:59:50.160" v="50" actId="26606"/>
          <ac:spMkLst>
            <pc:docMk/>
            <pc:sldMk cId="3685199594" sldId="2091"/>
            <ac:spMk id="11" creationId="{655AE6B0-AC9E-4167-806F-E9DB135FC46B}"/>
          </ac:spMkLst>
        </pc:spChg>
        <pc:spChg chg="add">
          <ac:chgData name="TURNER Katrina" userId="edabac6d-a246-410f-b2c4-f41774866ea3" providerId="ADAL" clId="{8FEF1B5F-80F9-412A-BD3A-66A77968BC18}" dt="2021-06-09T23:59:50.160" v="50" actId="26606"/>
          <ac:spMkLst>
            <pc:docMk/>
            <pc:sldMk cId="3685199594" sldId="2091"/>
            <ac:spMk id="24" creationId="{87BD1F4E-A66D-4C06-86DA-8D56CA7A3B41}"/>
          </ac:spMkLst>
        </pc:spChg>
        <pc:grpChg chg="add">
          <ac:chgData name="TURNER Katrina" userId="edabac6d-a246-410f-b2c4-f41774866ea3" providerId="ADAL" clId="{8FEF1B5F-80F9-412A-BD3A-66A77968BC18}" dt="2021-06-09T23:59:50.160" v="50" actId="26606"/>
          <ac:grpSpMkLst>
            <pc:docMk/>
            <pc:sldMk cId="3685199594" sldId="2091"/>
            <ac:grpSpMk id="13" creationId="{3523416A-383B-4FDC-B4C9-D8EDDFE9C043}"/>
          </ac:grpSpMkLst>
        </pc:grpChg>
        <pc:graphicFrameChg chg="add mod">
          <ac:chgData name="TURNER Katrina" userId="edabac6d-a246-410f-b2c4-f41774866ea3" providerId="ADAL" clId="{8FEF1B5F-80F9-412A-BD3A-66A77968BC18}" dt="2021-06-10T00:05:20.859" v="82" actId="166"/>
          <ac:graphicFrameMkLst>
            <pc:docMk/>
            <pc:sldMk cId="3685199594" sldId="2091"/>
            <ac:graphicFrameMk id="8" creationId="{87CCA43A-1A31-461D-91FC-054EEC4ABE5D}"/>
          </ac:graphicFrameMkLst>
        </pc:graphicFrameChg>
        <pc:picChg chg="add mod ord">
          <ac:chgData name="TURNER Katrina" userId="edabac6d-a246-410f-b2c4-f41774866ea3" providerId="ADAL" clId="{8FEF1B5F-80F9-412A-BD3A-66A77968BC18}" dt="2021-06-10T00:05:25.898" v="83" actId="1076"/>
          <ac:picMkLst>
            <pc:docMk/>
            <pc:sldMk cId="3685199594" sldId="2091"/>
            <ac:picMk id="4" creationId="{0C8BD119-439B-4110-A9A3-BFA28C26E128}"/>
          </ac:picMkLst>
        </pc:picChg>
        <pc:picChg chg="del mod">
          <ac:chgData name="TURNER Katrina" userId="edabac6d-a246-410f-b2c4-f41774866ea3" providerId="ADAL" clId="{8FEF1B5F-80F9-412A-BD3A-66A77968BC18}" dt="2021-06-09T23:59:43.478" v="49" actId="478"/>
          <ac:picMkLst>
            <pc:docMk/>
            <pc:sldMk cId="3685199594" sldId="2091"/>
            <ac:picMk id="7" creationId="{92D28E6F-306F-488E-884F-D83A9BBEC141}"/>
          </ac:picMkLst>
        </pc:picChg>
        <pc:picChg chg="add mod">
          <ac:chgData name="TURNER Katrina" userId="edabac6d-a246-410f-b2c4-f41774866ea3" providerId="ADAL" clId="{8FEF1B5F-80F9-412A-BD3A-66A77968BC18}" dt="2021-06-10T00:05:38.349" v="85" actId="1076"/>
          <ac:picMkLst>
            <pc:docMk/>
            <pc:sldMk cId="3685199594" sldId="2091"/>
            <ac:picMk id="9" creationId="{5F463D0F-7779-48D6-AFCB-5C8A5B2C63C0}"/>
          </ac:picMkLst>
        </pc:picChg>
      </pc:sldChg>
      <pc:sldChg chg="addSp delSp modSp mod setBg">
        <pc:chgData name="TURNER Katrina" userId="edabac6d-a246-410f-b2c4-f41774866ea3" providerId="ADAL" clId="{8FEF1B5F-80F9-412A-BD3A-66A77968BC18}" dt="2021-06-10T20:23:13.365" v="1330" actId="207"/>
        <pc:sldMkLst>
          <pc:docMk/>
          <pc:sldMk cId="1838762907" sldId="2092"/>
        </pc:sldMkLst>
        <pc:spChg chg="mod">
          <ac:chgData name="TURNER Katrina" userId="edabac6d-a246-410f-b2c4-f41774866ea3" providerId="ADAL" clId="{8FEF1B5F-80F9-412A-BD3A-66A77968BC18}" dt="2021-06-10T20:23:13.365" v="1330" actId="207"/>
          <ac:spMkLst>
            <pc:docMk/>
            <pc:sldMk cId="1838762907" sldId="2092"/>
            <ac:spMk id="2" creationId="{E95CE8AD-FED5-4BC9-B926-C50307EC66A7}"/>
          </ac:spMkLst>
        </pc:spChg>
        <pc:spChg chg="del">
          <ac:chgData name="TURNER Katrina" userId="edabac6d-a246-410f-b2c4-f41774866ea3" providerId="ADAL" clId="{8FEF1B5F-80F9-412A-BD3A-66A77968BC18}" dt="2021-06-09T23:58:30.469" v="42" actId="26606"/>
          <ac:spMkLst>
            <pc:docMk/>
            <pc:sldMk cId="1838762907" sldId="2092"/>
            <ac:spMk id="3" creationId="{5D967A8F-D2A9-460B-BFD6-20F4293E278B}"/>
          </ac:spMkLst>
        </pc:spChg>
        <pc:spChg chg="mod">
          <ac:chgData name="TURNER Katrina" userId="edabac6d-a246-410f-b2c4-f41774866ea3" providerId="ADAL" clId="{8FEF1B5F-80F9-412A-BD3A-66A77968BC18}" dt="2021-06-09T23:58:30.469" v="42" actId="26606"/>
          <ac:spMkLst>
            <pc:docMk/>
            <pc:sldMk cId="1838762907" sldId="2092"/>
            <ac:spMk id="5" creationId="{266783A6-FF3C-438B-B5C0-6C079185E5F4}"/>
          </ac:spMkLst>
        </pc:spChg>
        <pc:spChg chg="add del">
          <ac:chgData name="TURNER Katrina" userId="edabac6d-a246-410f-b2c4-f41774866ea3" providerId="ADAL" clId="{8FEF1B5F-80F9-412A-BD3A-66A77968BC18}" dt="2021-06-10T20:21:02.702" v="1321" actId="26606"/>
          <ac:spMkLst>
            <pc:docMk/>
            <pc:sldMk cId="1838762907" sldId="2092"/>
            <ac:spMk id="11" creationId="{655AE6B0-AC9E-4167-806F-E9DB135FC46B}"/>
          </ac:spMkLst>
        </pc:spChg>
        <pc:spChg chg="add del">
          <ac:chgData name="TURNER Katrina" userId="edabac6d-a246-410f-b2c4-f41774866ea3" providerId="ADAL" clId="{8FEF1B5F-80F9-412A-BD3A-66A77968BC18}" dt="2021-06-10T20:21:02.702" v="1321" actId="26606"/>
          <ac:spMkLst>
            <pc:docMk/>
            <pc:sldMk cId="1838762907" sldId="2092"/>
            <ac:spMk id="24" creationId="{87BD1F4E-A66D-4C06-86DA-8D56CA7A3B41}"/>
          </ac:spMkLst>
        </pc:spChg>
        <pc:spChg chg="add">
          <ac:chgData name="TURNER Katrina" userId="edabac6d-a246-410f-b2c4-f41774866ea3" providerId="ADAL" clId="{8FEF1B5F-80F9-412A-BD3A-66A77968BC18}" dt="2021-06-10T20:21:02.702" v="1321" actId="26606"/>
          <ac:spMkLst>
            <pc:docMk/>
            <pc:sldMk cId="1838762907" sldId="2092"/>
            <ac:spMk id="29" creationId="{655AE6B0-AC9E-4167-806F-E9DB135FC46B}"/>
          </ac:spMkLst>
        </pc:spChg>
        <pc:spChg chg="add">
          <ac:chgData name="TURNER Katrina" userId="edabac6d-a246-410f-b2c4-f41774866ea3" providerId="ADAL" clId="{8FEF1B5F-80F9-412A-BD3A-66A77968BC18}" dt="2021-06-10T20:21:02.702" v="1321" actId="26606"/>
          <ac:spMkLst>
            <pc:docMk/>
            <pc:sldMk cId="1838762907" sldId="2092"/>
            <ac:spMk id="42" creationId="{87BD1F4E-A66D-4C06-86DA-8D56CA7A3B41}"/>
          </ac:spMkLst>
        </pc:spChg>
        <pc:grpChg chg="add del">
          <ac:chgData name="TURNER Katrina" userId="edabac6d-a246-410f-b2c4-f41774866ea3" providerId="ADAL" clId="{8FEF1B5F-80F9-412A-BD3A-66A77968BC18}" dt="2021-06-10T20:21:02.702" v="1321" actId="26606"/>
          <ac:grpSpMkLst>
            <pc:docMk/>
            <pc:sldMk cId="1838762907" sldId="2092"/>
            <ac:grpSpMk id="13" creationId="{3523416A-383B-4FDC-B4C9-D8EDDFE9C043}"/>
          </ac:grpSpMkLst>
        </pc:grpChg>
        <pc:grpChg chg="add">
          <ac:chgData name="TURNER Katrina" userId="edabac6d-a246-410f-b2c4-f41774866ea3" providerId="ADAL" clId="{8FEF1B5F-80F9-412A-BD3A-66A77968BC18}" dt="2021-06-10T20:21:02.702" v="1321" actId="26606"/>
          <ac:grpSpMkLst>
            <pc:docMk/>
            <pc:sldMk cId="1838762907" sldId="2092"/>
            <ac:grpSpMk id="31" creationId="{3523416A-383B-4FDC-B4C9-D8EDDFE9C043}"/>
          </ac:grpSpMkLst>
        </pc:grpChg>
        <pc:graphicFrameChg chg="add mod modGraphic">
          <ac:chgData name="TURNER Katrina" userId="edabac6d-a246-410f-b2c4-f41774866ea3" providerId="ADAL" clId="{8FEF1B5F-80F9-412A-BD3A-66A77968BC18}" dt="2021-06-10T20:23:02.933" v="1329" actId="208"/>
          <ac:graphicFrameMkLst>
            <pc:docMk/>
            <pc:sldMk cId="1838762907" sldId="2092"/>
            <ac:graphicFrameMk id="7" creationId="{45E837BD-EF8F-4661-84D0-6124923890B4}"/>
          </ac:graphicFrameMkLst>
        </pc:graphicFrameChg>
      </pc:sldChg>
      <pc:sldChg chg="addSp delSp modSp mod">
        <pc:chgData name="TURNER Katrina" userId="edabac6d-a246-410f-b2c4-f41774866ea3" providerId="ADAL" clId="{8FEF1B5F-80F9-412A-BD3A-66A77968BC18}" dt="2021-06-10T20:39:59.725" v="1381" actId="1076"/>
        <pc:sldMkLst>
          <pc:docMk/>
          <pc:sldMk cId="3250211883" sldId="2093"/>
        </pc:sldMkLst>
        <pc:spChg chg="mod">
          <ac:chgData name="TURNER Katrina" userId="edabac6d-a246-410f-b2c4-f41774866ea3" providerId="ADAL" clId="{8FEF1B5F-80F9-412A-BD3A-66A77968BC18}" dt="2021-06-10T20:00:02.714" v="1128" actId="20577"/>
          <ac:spMkLst>
            <pc:docMk/>
            <pc:sldMk cId="3250211883" sldId="2093"/>
            <ac:spMk id="2" creationId="{0E0ED6A1-6251-45E1-8AFD-D853CB82205D}"/>
          </ac:spMkLst>
        </pc:spChg>
        <pc:spChg chg="mod">
          <ac:chgData name="TURNER Katrina" userId="edabac6d-a246-410f-b2c4-f41774866ea3" providerId="ADAL" clId="{8FEF1B5F-80F9-412A-BD3A-66A77968BC18}" dt="2021-06-10T19:58:34.827" v="1071" actId="20577"/>
          <ac:spMkLst>
            <pc:docMk/>
            <pc:sldMk cId="3250211883" sldId="2093"/>
            <ac:spMk id="4" creationId="{3F3201C8-D7FF-48D2-932A-37521AB59148}"/>
          </ac:spMkLst>
        </pc:spChg>
        <pc:spChg chg="add del mod">
          <ac:chgData name="TURNER Katrina" userId="edabac6d-a246-410f-b2c4-f41774866ea3" providerId="ADAL" clId="{8FEF1B5F-80F9-412A-BD3A-66A77968BC18}" dt="2021-06-10T20:37:33.497" v="1354" actId="478"/>
          <ac:spMkLst>
            <pc:docMk/>
            <pc:sldMk cId="3250211883" sldId="2093"/>
            <ac:spMk id="5" creationId="{A0D9E9FC-D715-4699-8934-53D1FDD0A10D}"/>
          </ac:spMkLst>
        </pc:spChg>
        <pc:spChg chg="add mod">
          <ac:chgData name="TURNER Katrina" userId="edabac6d-a246-410f-b2c4-f41774866ea3" providerId="ADAL" clId="{8FEF1B5F-80F9-412A-BD3A-66A77968BC18}" dt="2021-06-10T20:39:49.765" v="1380" actId="164"/>
          <ac:spMkLst>
            <pc:docMk/>
            <pc:sldMk cId="3250211883" sldId="2093"/>
            <ac:spMk id="6" creationId="{021E4B3F-B429-4B2C-99F6-E4D129CF74EE}"/>
          </ac:spMkLst>
        </pc:spChg>
        <pc:spChg chg="add mod">
          <ac:chgData name="TURNER Katrina" userId="edabac6d-a246-410f-b2c4-f41774866ea3" providerId="ADAL" clId="{8FEF1B5F-80F9-412A-BD3A-66A77968BC18}" dt="2021-06-10T20:39:49.765" v="1380" actId="164"/>
          <ac:spMkLst>
            <pc:docMk/>
            <pc:sldMk cId="3250211883" sldId="2093"/>
            <ac:spMk id="7" creationId="{76D98A2E-DF1D-470B-8469-BA92E429124F}"/>
          </ac:spMkLst>
        </pc:spChg>
        <pc:grpChg chg="add mod">
          <ac:chgData name="TURNER Katrina" userId="edabac6d-a246-410f-b2c4-f41774866ea3" providerId="ADAL" clId="{8FEF1B5F-80F9-412A-BD3A-66A77968BC18}" dt="2021-06-10T20:39:59.725" v="1381" actId="1076"/>
          <ac:grpSpMkLst>
            <pc:docMk/>
            <pc:sldMk cId="3250211883" sldId="2093"/>
            <ac:grpSpMk id="9" creationId="{D1D503CB-BA03-4367-BABB-9280ACAFE11C}"/>
          </ac:grpSpMkLst>
        </pc:grpChg>
        <pc:picChg chg="add mod">
          <ac:chgData name="TURNER Katrina" userId="edabac6d-a246-410f-b2c4-f41774866ea3" providerId="ADAL" clId="{8FEF1B5F-80F9-412A-BD3A-66A77968BC18}" dt="2021-06-10T20:39:32.829" v="1379" actId="1076"/>
          <ac:picMkLst>
            <pc:docMk/>
            <pc:sldMk cId="3250211883" sldId="2093"/>
            <ac:picMk id="3" creationId="{9F5640EE-2FF0-4FD4-9E28-E21574425411}"/>
          </ac:picMkLst>
        </pc:picChg>
      </pc:sldChg>
      <pc:sldChg chg="addSp delSp modSp mod">
        <pc:chgData name="TURNER Katrina" userId="edabac6d-a246-410f-b2c4-f41774866ea3" providerId="ADAL" clId="{8FEF1B5F-80F9-412A-BD3A-66A77968BC18}" dt="2021-06-10T21:15:01.064" v="1435" actId="1076"/>
        <pc:sldMkLst>
          <pc:docMk/>
          <pc:sldMk cId="1714495816" sldId="2094"/>
        </pc:sldMkLst>
        <pc:spChg chg="mod">
          <ac:chgData name="TURNER Katrina" userId="edabac6d-a246-410f-b2c4-f41774866ea3" providerId="ADAL" clId="{8FEF1B5F-80F9-412A-BD3A-66A77968BC18}" dt="2021-06-10T21:15:01.064" v="1435" actId="1076"/>
          <ac:spMkLst>
            <pc:docMk/>
            <pc:sldMk cId="1714495816" sldId="2094"/>
            <ac:spMk id="2" creationId="{0E0ED6A1-6251-45E1-8AFD-D853CB82205D}"/>
          </ac:spMkLst>
        </pc:spChg>
        <pc:spChg chg="mod">
          <ac:chgData name="TURNER Katrina" userId="edabac6d-a246-410f-b2c4-f41774866ea3" providerId="ADAL" clId="{8FEF1B5F-80F9-412A-BD3A-66A77968BC18}" dt="2021-06-10T20:02:20.426" v="1212" actId="1582"/>
          <ac:spMkLst>
            <pc:docMk/>
            <pc:sldMk cId="1714495816" sldId="2094"/>
            <ac:spMk id="4" creationId="{3F3201C8-D7FF-48D2-932A-37521AB59148}"/>
          </ac:spMkLst>
        </pc:spChg>
        <pc:spChg chg="add del">
          <ac:chgData name="TURNER Katrina" userId="edabac6d-a246-410f-b2c4-f41774866ea3" providerId="ADAL" clId="{8FEF1B5F-80F9-412A-BD3A-66A77968BC18}" dt="2021-06-10T00:32:45.356" v="109" actId="478"/>
          <ac:spMkLst>
            <pc:docMk/>
            <pc:sldMk cId="1714495816" sldId="2094"/>
            <ac:spMk id="6" creationId="{5BE8AC46-EFD5-4500-9806-A54E118B4986}"/>
          </ac:spMkLst>
        </pc:spChg>
        <pc:spChg chg="add mod">
          <ac:chgData name="TURNER Katrina" userId="edabac6d-a246-410f-b2c4-f41774866ea3" providerId="ADAL" clId="{8FEF1B5F-80F9-412A-BD3A-66A77968BC18}" dt="2021-06-10T20:35:20.751" v="1336" actId="207"/>
          <ac:spMkLst>
            <pc:docMk/>
            <pc:sldMk cId="1714495816" sldId="2094"/>
            <ac:spMk id="6" creationId="{F3EF2178-19EB-4883-A26A-238853C4619A}"/>
          </ac:spMkLst>
        </pc:spChg>
        <pc:graphicFrameChg chg="mod modGraphic">
          <ac:chgData name="TURNER Katrina" userId="edabac6d-a246-410f-b2c4-f41774866ea3" providerId="ADAL" clId="{8FEF1B5F-80F9-412A-BD3A-66A77968BC18}" dt="2021-06-10T17:45:07.347" v="174" actId="207"/>
          <ac:graphicFrameMkLst>
            <pc:docMk/>
            <pc:sldMk cId="1714495816" sldId="2094"/>
            <ac:graphicFrameMk id="5" creationId="{AE42A037-2B31-4D9A-8587-8E4234A1B548}"/>
          </ac:graphicFrameMkLst>
        </pc:graphicFrameChg>
        <pc:picChg chg="add mod">
          <ac:chgData name="TURNER Katrina" userId="edabac6d-a246-410f-b2c4-f41774866ea3" providerId="ADAL" clId="{8FEF1B5F-80F9-412A-BD3A-66A77968BC18}" dt="2021-06-10T20:34:49.467" v="1331" actId="1076"/>
          <ac:picMkLst>
            <pc:docMk/>
            <pc:sldMk cId="1714495816" sldId="2094"/>
            <ac:picMk id="3" creationId="{5DCAF4CE-405B-4654-8861-10FCD71E9EEE}"/>
          </ac:picMkLst>
        </pc:picChg>
      </pc:sldChg>
      <pc:sldChg chg="modNotesTx">
        <pc:chgData name="TURNER Katrina" userId="edabac6d-a246-410f-b2c4-f41774866ea3" providerId="ADAL" clId="{8FEF1B5F-80F9-412A-BD3A-66A77968BC18}" dt="2021-06-09T23:48:25.853" v="8" actId="20577"/>
        <pc:sldMkLst>
          <pc:docMk/>
          <pc:sldMk cId="2203141175" sldId="2095"/>
        </pc:sldMkLst>
      </pc:sldChg>
      <pc:sldChg chg="addSp modSp mod">
        <pc:chgData name="TURNER Katrina" userId="edabac6d-a246-410f-b2c4-f41774866ea3" providerId="ADAL" clId="{8FEF1B5F-80F9-412A-BD3A-66A77968BC18}" dt="2021-06-10T20:10:32.008" v="1320" actId="113"/>
        <pc:sldMkLst>
          <pc:docMk/>
          <pc:sldMk cId="1841394788" sldId="2096"/>
        </pc:sldMkLst>
        <pc:spChg chg="add mod">
          <ac:chgData name="TURNER Katrina" userId="edabac6d-a246-410f-b2c4-f41774866ea3" providerId="ADAL" clId="{8FEF1B5F-80F9-412A-BD3A-66A77968BC18}" dt="2021-06-10T20:05:49.850" v="1248" actId="20577"/>
          <ac:spMkLst>
            <pc:docMk/>
            <pc:sldMk cId="1841394788" sldId="2096"/>
            <ac:spMk id="3" creationId="{FAC85704-A12C-4199-AF4C-E36DD383E949}"/>
          </ac:spMkLst>
        </pc:spChg>
        <pc:spChg chg="mod">
          <ac:chgData name="TURNER Katrina" userId="edabac6d-a246-410f-b2c4-f41774866ea3" providerId="ADAL" clId="{8FEF1B5F-80F9-412A-BD3A-66A77968BC18}" dt="2021-06-10T20:10:32.008" v="1320" actId="113"/>
          <ac:spMkLst>
            <pc:docMk/>
            <pc:sldMk cId="1841394788" sldId="2096"/>
            <ac:spMk id="4" creationId="{3F3201C8-D7FF-48D2-932A-37521AB59148}"/>
          </ac:spMkLst>
        </pc:spChg>
        <pc:spChg chg="add mod">
          <ac:chgData name="TURNER Katrina" userId="edabac6d-a246-410f-b2c4-f41774866ea3" providerId="ADAL" clId="{8FEF1B5F-80F9-412A-BD3A-66A77968BC18}" dt="2021-06-10T20:05:55.149" v="1251" actId="20577"/>
          <ac:spMkLst>
            <pc:docMk/>
            <pc:sldMk cId="1841394788" sldId="2096"/>
            <ac:spMk id="6" creationId="{1E06767A-336D-435B-A985-A1F8A5903418}"/>
          </ac:spMkLst>
        </pc:spChg>
        <pc:spChg chg="add mod">
          <ac:chgData name="TURNER Katrina" userId="edabac6d-a246-410f-b2c4-f41774866ea3" providerId="ADAL" clId="{8FEF1B5F-80F9-412A-BD3A-66A77968BC18}" dt="2021-06-10T20:05:58.600" v="1254" actId="20577"/>
          <ac:spMkLst>
            <pc:docMk/>
            <pc:sldMk cId="1841394788" sldId="2096"/>
            <ac:spMk id="7" creationId="{BF2AEA85-1789-4DB8-B956-5A0EC33D39A3}"/>
          </ac:spMkLst>
        </pc:spChg>
        <pc:spChg chg="add mod">
          <ac:chgData name="TURNER Katrina" userId="edabac6d-a246-410f-b2c4-f41774866ea3" providerId="ADAL" clId="{8FEF1B5F-80F9-412A-BD3A-66A77968BC18}" dt="2021-06-10T20:06:01.485" v="1257" actId="20577"/>
          <ac:spMkLst>
            <pc:docMk/>
            <pc:sldMk cId="1841394788" sldId="2096"/>
            <ac:spMk id="9" creationId="{A5A0232D-B7D4-4961-8214-61474C713153}"/>
          </ac:spMkLst>
        </pc:spChg>
        <pc:spChg chg="add mod">
          <ac:chgData name="TURNER Katrina" userId="edabac6d-a246-410f-b2c4-f41774866ea3" providerId="ADAL" clId="{8FEF1B5F-80F9-412A-BD3A-66A77968BC18}" dt="2021-06-10T20:06:03.926" v="1260" actId="20577"/>
          <ac:spMkLst>
            <pc:docMk/>
            <pc:sldMk cId="1841394788" sldId="2096"/>
            <ac:spMk id="10" creationId="{67975307-E56C-489C-812A-1206CF4FC6B5}"/>
          </ac:spMkLst>
        </pc:spChg>
        <pc:spChg chg="add mod">
          <ac:chgData name="TURNER Katrina" userId="edabac6d-a246-410f-b2c4-f41774866ea3" providerId="ADAL" clId="{8FEF1B5F-80F9-412A-BD3A-66A77968BC18}" dt="2021-06-10T20:06:06.733" v="1263" actId="20577"/>
          <ac:spMkLst>
            <pc:docMk/>
            <pc:sldMk cId="1841394788" sldId="2096"/>
            <ac:spMk id="11" creationId="{DEFB307F-2521-49DB-B166-C4DDED38915A}"/>
          </ac:spMkLst>
        </pc:spChg>
        <pc:spChg chg="add mod">
          <ac:chgData name="TURNER Katrina" userId="edabac6d-a246-410f-b2c4-f41774866ea3" providerId="ADAL" clId="{8FEF1B5F-80F9-412A-BD3A-66A77968BC18}" dt="2021-06-10T20:06:14.022" v="1274" actId="20577"/>
          <ac:spMkLst>
            <pc:docMk/>
            <pc:sldMk cId="1841394788" sldId="2096"/>
            <ac:spMk id="12" creationId="{B1C132CF-AFE6-4024-BC81-14EA8482CEB5}"/>
          </ac:spMkLst>
        </pc:spChg>
        <pc:spChg chg="add mod">
          <ac:chgData name="TURNER Katrina" userId="edabac6d-a246-410f-b2c4-f41774866ea3" providerId="ADAL" clId="{8FEF1B5F-80F9-412A-BD3A-66A77968BC18}" dt="2021-06-10T20:06:16.942" v="1277" actId="20577"/>
          <ac:spMkLst>
            <pc:docMk/>
            <pc:sldMk cId="1841394788" sldId="2096"/>
            <ac:spMk id="13" creationId="{34F67289-CF3B-4244-B704-5A807335B431}"/>
          </ac:spMkLst>
        </pc:spChg>
      </pc:sldChg>
      <pc:sldChg chg="delSp modSp add del mod">
        <pc:chgData name="TURNER Katrina" userId="edabac6d-a246-410f-b2c4-f41774866ea3" providerId="ADAL" clId="{8FEF1B5F-80F9-412A-BD3A-66A77968BC18}" dt="2021-06-10T00:05:51.350" v="86" actId="47"/>
        <pc:sldMkLst>
          <pc:docMk/>
          <pc:sldMk cId="3894364227" sldId="2097"/>
        </pc:sldMkLst>
        <pc:spChg chg="del mod">
          <ac:chgData name="TURNER Katrina" userId="edabac6d-a246-410f-b2c4-f41774866ea3" providerId="ADAL" clId="{8FEF1B5F-80F9-412A-BD3A-66A77968BC18}" dt="2021-06-10T00:03:32.169" v="71" actId="21"/>
          <ac:spMkLst>
            <pc:docMk/>
            <pc:sldMk cId="3894364227" sldId="2097"/>
            <ac:spMk id="6" creationId="{2132F5C8-F63E-43BA-8830-A47ABFA7A8B6}"/>
          </ac:spMkLst>
        </pc:spChg>
        <pc:picChg chg="del">
          <ac:chgData name="TURNER Katrina" userId="edabac6d-a246-410f-b2c4-f41774866ea3" providerId="ADAL" clId="{8FEF1B5F-80F9-412A-BD3A-66A77968BC18}" dt="2021-06-10T00:03:13.152" v="69" actId="21"/>
          <ac:picMkLst>
            <pc:docMk/>
            <pc:sldMk cId="3894364227" sldId="2097"/>
            <ac:picMk id="7" creationId="{92D28E6F-306F-488E-884F-D83A9BBEC141}"/>
          </ac:picMkLst>
        </pc:picChg>
      </pc:sldChg>
    </pc:docChg>
  </pc:docChgLst>
  <pc:docChgLst>
    <pc:chgData name="Burkus Heather D" userId="S::heather.d.burkus@dhsoha.state.or.us::82da8e3a-e2fd-48da-9173-f6efe4e9e7f4" providerId="AD" clId="Web-{B34A7783-6A87-46B1-87D3-99DFF19BE6F1}"/>
    <pc:docChg chg="addSld modSld">
      <pc:chgData name="Burkus Heather D" userId="S::heather.d.burkus@dhsoha.state.or.us::82da8e3a-e2fd-48da-9173-f6efe4e9e7f4" providerId="AD" clId="Web-{B34A7783-6A87-46B1-87D3-99DFF19BE6F1}" dt="2021-06-10T20:51:51.847" v="128" actId="14100"/>
      <pc:docMkLst>
        <pc:docMk/>
      </pc:docMkLst>
      <pc:sldChg chg="modSp">
        <pc:chgData name="Burkus Heather D" userId="S::heather.d.burkus@dhsoha.state.or.us::82da8e3a-e2fd-48da-9173-f6efe4e9e7f4" providerId="AD" clId="Web-{B34A7783-6A87-46B1-87D3-99DFF19BE6F1}" dt="2021-06-10T20:49:51.306" v="113" actId="20577"/>
        <pc:sldMkLst>
          <pc:docMk/>
          <pc:sldMk cId="2074128736" sldId="2097"/>
        </pc:sldMkLst>
        <pc:spChg chg="mod">
          <ac:chgData name="Burkus Heather D" userId="S::heather.d.burkus@dhsoha.state.or.us::82da8e3a-e2fd-48da-9173-f6efe4e9e7f4" providerId="AD" clId="Web-{B34A7783-6A87-46B1-87D3-99DFF19BE6F1}" dt="2021-06-10T20:49:51.306" v="113" actId="20577"/>
          <ac:spMkLst>
            <pc:docMk/>
            <pc:sldMk cId="2074128736" sldId="2097"/>
            <ac:spMk id="4" creationId="{6EA13D77-F188-4737-BDE8-6465E58A5283}"/>
          </ac:spMkLst>
        </pc:spChg>
      </pc:sldChg>
      <pc:sldChg chg="modSp add replId">
        <pc:chgData name="Burkus Heather D" userId="S::heather.d.burkus@dhsoha.state.or.us::82da8e3a-e2fd-48da-9173-f6efe4e9e7f4" providerId="AD" clId="Web-{B34A7783-6A87-46B1-87D3-99DFF19BE6F1}" dt="2021-06-10T20:51:51.847" v="128" actId="14100"/>
        <pc:sldMkLst>
          <pc:docMk/>
          <pc:sldMk cId="1694468346" sldId="2098"/>
        </pc:sldMkLst>
        <pc:spChg chg="mod">
          <ac:chgData name="Burkus Heather D" userId="S::heather.d.burkus@dhsoha.state.or.us::82da8e3a-e2fd-48da-9173-f6efe4e9e7f4" providerId="AD" clId="Web-{B34A7783-6A87-46B1-87D3-99DFF19BE6F1}" dt="2021-06-10T20:51:51.847" v="128" actId="14100"/>
          <ac:spMkLst>
            <pc:docMk/>
            <pc:sldMk cId="1694468346" sldId="2098"/>
            <ac:spMk id="4" creationId="{6EA13D77-F188-4737-BDE8-6465E58A5283}"/>
          </ac:spMkLst>
        </pc:spChg>
      </pc:sldChg>
    </pc:docChg>
  </pc:docChgLst>
  <pc:docChgLst>
    <pc:chgData name="Bodi Katherine M" userId="S::katherine.m.bodi@dhsoha.state.or.us::07d9bf93-de6f-4627-8dce-a1187ba4b8f8" providerId="AD" clId="Web-{FFC876BB-8DEB-44E6-A4BA-A0DD7E126EC6}"/>
    <pc:docChg chg="modSld">
      <pc:chgData name="Bodi Katherine M" userId="S::katherine.m.bodi@dhsoha.state.or.us::07d9bf93-de6f-4627-8dce-a1187ba4b8f8" providerId="AD" clId="Web-{FFC876BB-8DEB-44E6-A4BA-A0DD7E126EC6}" dt="2021-06-10T21:20:44.036" v="743" actId="1076"/>
      <pc:docMkLst>
        <pc:docMk/>
      </pc:docMkLst>
      <pc:sldChg chg="delSp modSp">
        <pc:chgData name="Bodi Katherine M" userId="S::katherine.m.bodi@dhsoha.state.or.us::07d9bf93-de6f-4627-8dce-a1187ba4b8f8" providerId="AD" clId="Web-{FFC876BB-8DEB-44E6-A4BA-A0DD7E126EC6}" dt="2021-06-10T21:20:44.036" v="743" actId="1076"/>
        <pc:sldMkLst>
          <pc:docMk/>
          <pc:sldMk cId="3250211883" sldId="2093"/>
        </pc:sldMkLst>
        <pc:spChg chg="mod">
          <ac:chgData name="Bodi Katherine M" userId="S::katherine.m.bodi@dhsoha.state.or.us::07d9bf93-de6f-4627-8dce-a1187ba4b8f8" providerId="AD" clId="Web-{FFC876BB-8DEB-44E6-A4BA-A0DD7E126EC6}" dt="2021-06-10T21:20:29.270" v="740" actId="20577"/>
          <ac:spMkLst>
            <pc:docMk/>
            <pc:sldMk cId="3250211883" sldId="2093"/>
            <ac:spMk id="4" creationId="{3F3201C8-D7FF-48D2-932A-37521AB59148}"/>
          </ac:spMkLst>
        </pc:spChg>
        <pc:spChg chg="mod">
          <ac:chgData name="Bodi Katherine M" userId="S::katherine.m.bodi@dhsoha.state.or.us::07d9bf93-de6f-4627-8dce-a1187ba4b8f8" providerId="AD" clId="Web-{FFC876BB-8DEB-44E6-A4BA-A0DD7E126EC6}" dt="2021-06-10T21:16:43.471" v="674" actId="1076"/>
          <ac:spMkLst>
            <pc:docMk/>
            <pc:sldMk cId="3250211883" sldId="2093"/>
            <ac:spMk id="7" creationId="{76D98A2E-DF1D-470B-8469-BA92E429124F}"/>
          </ac:spMkLst>
        </pc:spChg>
        <pc:grpChg chg="del mod">
          <ac:chgData name="Bodi Katherine M" userId="S::katherine.m.bodi@dhsoha.state.or.us::07d9bf93-de6f-4627-8dce-a1187ba4b8f8" providerId="AD" clId="Web-{FFC876BB-8DEB-44E6-A4BA-A0DD7E126EC6}" dt="2021-06-10T21:16:49.065" v="675"/>
          <ac:grpSpMkLst>
            <pc:docMk/>
            <pc:sldMk cId="3250211883" sldId="2093"/>
            <ac:grpSpMk id="9" creationId="{D1D503CB-BA03-4367-BABB-9280ACAFE11C}"/>
          </ac:grpSpMkLst>
        </pc:grpChg>
        <pc:picChg chg="mod">
          <ac:chgData name="Bodi Katherine M" userId="S::katherine.m.bodi@dhsoha.state.or.us::07d9bf93-de6f-4627-8dce-a1187ba4b8f8" providerId="AD" clId="Web-{FFC876BB-8DEB-44E6-A4BA-A0DD7E126EC6}" dt="2021-06-10T21:20:44.036" v="743" actId="1076"/>
          <ac:picMkLst>
            <pc:docMk/>
            <pc:sldMk cId="3250211883" sldId="2093"/>
            <ac:picMk id="3" creationId="{9F5640EE-2FF0-4FD4-9E28-E21574425411}"/>
          </ac:picMkLst>
        </pc:picChg>
      </pc:sldChg>
    </pc:docChg>
  </pc:docChgLst>
  <pc:docChgLst>
    <pc:chgData name="TURNER Katrina" userId="S::katrina.turner@dhsoha.state.or.us::edabac6d-a246-410f-b2c4-f41774866ea3" providerId="AD" clId="Web-{3D76602B-44A1-4C98-BF8F-F1DE5A1B8B3C}"/>
    <pc:docChg chg="modSld">
      <pc:chgData name="TURNER Katrina" userId="S::katrina.turner@dhsoha.state.or.us::edabac6d-a246-410f-b2c4-f41774866ea3" providerId="AD" clId="Web-{3D76602B-44A1-4C98-BF8F-F1DE5A1B8B3C}" dt="2021-06-10T17:43:58.317" v="3"/>
      <pc:docMkLst>
        <pc:docMk/>
      </pc:docMkLst>
      <pc:sldChg chg="modSp">
        <pc:chgData name="TURNER Katrina" userId="S::katrina.turner@dhsoha.state.or.us::edabac6d-a246-410f-b2c4-f41774866ea3" providerId="AD" clId="Web-{3D76602B-44A1-4C98-BF8F-F1DE5A1B8B3C}" dt="2021-06-10T17:43:11.129" v="0" actId="20577"/>
        <pc:sldMkLst>
          <pc:docMk/>
          <pc:sldMk cId="3685199594" sldId="2091"/>
        </pc:sldMkLst>
        <pc:spChg chg="mod">
          <ac:chgData name="TURNER Katrina" userId="S::katrina.turner@dhsoha.state.or.us::edabac6d-a246-410f-b2c4-f41774866ea3" providerId="AD" clId="Web-{3D76602B-44A1-4C98-BF8F-F1DE5A1B8B3C}" dt="2021-06-10T17:43:11.129" v="0" actId="20577"/>
          <ac:spMkLst>
            <pc:docMk/>
            <pc:sldMk cId="3685199594" sldId="2091"/>
            <ac:spMk id="2" creationId="{E95CE8AD-FED5-4BC9-B926-C50307EC66A7}"/>
          </ac:spMkLst>
        </pc:spChg>
      </pc:sldChg>
      <pc:sldChg chg="modSp">
        <pc:chgData name="TURNER Katrina" userId="S::katrina.turner@dhsoha.state.or.us::edabac6d-a246-410f-b2c4-f41774866ea3" providerId="AD" clId="Web-{3D76602B-44A1-4C98-BF8F-F1DE5A1B8B3C}" dt="2021-06-10T17:43:17.785" v="1" actId="20577"/>
        <pc:sldMkLst>
          <pc:docMk/>
          <pc:sldMk cId="1838762907" sldId="2092"/>
        </pc:sldMkLst>
        <pc:spChg chg="mod">
          <ac:chgData name="TURNER Katrina" userId="S::katrina.turner@dhsoha.state.or.us::edabac6d-a246-410f-b2c4-f41774866ea3" providerId="AD" clId="Web-{3D76602B-44A1-4C98-BF8F-F1DE5A1B8B3C}" dt="2021-06-10T17:43:17.785" v="1" actId="20577"/>
          <ac:spMkLst>
            <pc:docMk/>
            <pc:sldMk cId="1838762907" sldId="2092"/>
            <ac:spMk id="2" creationId="{E95CE8AD-FED5-4BC9-B926-C50307EC66A7}"/>
          </ac:spMkLst>
        </pc:spChg>
      </pc:sldChg>
      <pc:sldChg chg="modSp">
        <pc:chgData name="TURNER Katrina" userId="S::katrina.turner@dhsoha.state.or.us::edabac6d-a246-410f-b2c4-f41774866ea3" providerId="AD" clId="Web-{3D76602B-44A1-4C98-BF8F-F1DE5A1B8B3C}" dt="2021-06-10T17:43:58.317" v="3"/>
        <pc:sldMkLst>
          <pc:docMk/>
          <pc:sldMk cId="1714495816" sldId="2094"/>
        </pc:sldMkLst>
        <pc:graphicFrameChg chg="mod modGraphic">
          <ac:chgData name="TURNER Katrina" userId="S::katrina.turner@dhsoha.state.or.us::edabac6d-a246-410f-b2c4-f41774866ea3" providerId="AD" clId="Web-{3D76602B-44A1-4C98-BF8F-F1DE5A1B8B3C}" dt="2021-06-10T17:43:58.317" v="3"/>
          <ac:graphicFrameMkLst>
            <pc:docMk/>
            <pc:sldMk cId="1714495816" sldId="2094"/>
            <ac:graphicFrameMk id="5" creationId="{AE42A037-2B31-4D9A-8587-8E4234A1B548}"/>
          </ac:graphicFrameMkLst>
        </pc:graphicFrameChg>
      </pc:sldChg>
    </pc:docChg>
  </pc:docChgLst>
  <pc:docChgLst>
    <pc:chgData name="Burkus Heather D" userId="S::heather.d.burkus@dhsoha.state.or.us::82da8e3a-e2fd-48da-9173-f6efe4e9e7f4" providerId="AD" clId="Web-{219F201B-F8AE-4957-A642-E3A10CA1537B}"/>
    <pc:docChg chg="modSld">
      <pc:chgData name="Burkus Heather D" userId="S::heather.d.burkus@dhsoha.state.or.us::82da8e3a-e2fd-48da-9173-f6efe4e9e7f4" providerId="AD" clId="Web-{219F201B-F8AE-4957-A642-E3A10CA1537B}" dt="2021-06-10T21:40:31.145" v="842" actId="14100"/>
      <pc:docMkLst>
        <pc:docMk/>
      </pc:docMkLst>
      <pc:sldChg chg="modSp">
        <pc:chgData name="Burkus Heather D" userId="S::heather.d.burkus@dhsoha.state.or.us::82da8e3a-e2fd-48da-9173-f6efe4e9e7f4" providerId="AD" clId="Web-{219F201B-F8AE-4957-A642-E3A10CA1537B}" dt="2021-06-10T21:40:31.145" v="842" actId="14100"/>
        <pc:sldMkLst>
          <pc:docMk/>
          <pc:sldMk cId="3420731411" sldId="2088"/>
        </pc:sldMkLst>
        <pc:spChg chg="mod">
          <ac:chgData name="Burkus Heather D" userId="S::heather.d.burkus@dhsoha.state.or.us::82da8e3a-e2fd-48da-9173-f6efe4e9e7f4" providerId="AD" clId="Web-{219F201B-F8AE-4957-A642-E3A10CA1537B}" dt="2021-06-10T21:40:23.395" v="840" actId="14100"/>
          <ac:spMkLst>
            <pc:docMk/>
            <pc:sldMk cId="3420731411" sldId="2088"/>
            <ac:spMk id="2" creationId="{8D9D6C35-976E-4D92-AD2D-E2FA928EA5F1}"/>
          </ac:spMkLst>
        </pc:spChg>
        <pc:spChg chg="mod">
          <ac:chgData name="Burkus Heather D" userId="S::heather.d.burkus@dhsoha.state.or.us::82da8e3a-e2fd-48da-9173-f6efe4e9e7f4" providerId="AD" clId="Web-{219F201B-F8AE-4957-A642-E3A10CA1537B}" dt="2021-06-10T21:40:31.145" v="842" actId="14100"/>
          <ac:spMkLst>
            <pc:docMk/>
            <pc:sldMk cId="3420731411" sldId="2088"/>
            <ac:spMk id="4" creationId="{6EA13D77-F188-4737-BDE8-6465E58A5283}"/>
          </ac:spMkLst>
        </pc:spChg>
      </pc:sldChg>
      <pc:sldChg chg="modSp">
        <pc:chgData name="Burkus Heather D" userId="S::heather.d.burkus@dhsoha.state.or.us::82da8e3a-e2fd-48da-9173-f6efe4e9e7f4" providerId="AD" clId="Web-{219F201B-F8AE-4957-A642-E3A10CA1537B}" dt="2021-06-10T21:15:56.030" v="53" actId="14100"/>
        <pc:sldMkLst>
          <pc:docMk/>
          <pc:sldMk cId="619972361" sldId="2090"/>
        </pc:sldMkLst>
        <pc:spChg chg="mod">
          <ac:chgData name="Burkus Heather D" userId="S::heather.d.burkus@dhsoha.state.or.us::82da8e3a-e2fd-48da-9173-f6efe4e9e7f4" providerId="AD" clId="Web-{219F201B-F8AE-4957-A642-E3A10CA1537B}" dt="2021-06-10T21:15:56.030" v="53" actId="14100"/>
          <ac:spMkLst>
            <pc:docMk/>
            <pc:sldMk cId="619972361" sldId="2090"/>
            <ac:spMk id="6" creationId="{CC714093-B8CD-4E30-8DC4-A44A747B2B27}"/>
          </ac:spMkLst>
        </pc:spChg>
      </pc:sldChg>
    </pc:docChg>
  </pc:docChgLst>
  <pc:docChgLst>
    <pc:chgData name="Burkus Heather D" userId="S::heather.d.burkus@dhsoha.state.or.us::82da8e3a-e2fd-48da-9173-f6efe4e9e7f4" providerId="AD" clId="Web-{08CAA3A8-EAEE-4329-9665-C75FB3BADA55}"/>
    <pc:docChg chg="modSld">
      <pc:chgData name="Burkus Heather D" userId="S::heather.d.burkus@dhsoha.state.or.us::82da8e3a-e2fd-48da-9173-f6efe4e9e7f4" providerId="AD" clId="Web-{08CAA3A8-EAEE-4329-9665-C75FB3BADA55}" dt="2021-06-10T20:55:33.382" v="25" actId="20577"/>
      <pc:docMkLst>
        <pc:docMk/>
      </pc:docMkLst>
      <pc:sldChg chg="modSp">
        <pc:chgData name="Burkus Heather D" userId="S::heather.d.burkus@dhsoha.state.or.us::82da8e3a-e2fd-48da-9173-f6efe4e9e7f4" providerId="AD" clId="Web-{08CAA3A8-EAEE-4329-9665-C75FB3BADA55}" dt="2021-06-10T20:55:33.382" v="25" actId="20577"/>
        <pc:sldMkLst>
          <pc:docMk/>
          <pc:sldMk cId="2074128736" sldId="2097"/>
        </pc:sldMkLst>
        <pc:spChg chg="mod">
          <ac:chgData name="Burkus Heather D" userId="S::heather.d.burkus@dhsoha.state.or.us::82da8e3a-e2fd-48da-9173-f6efe4e9e7f4" providerId="AD" clId="Web-{08CAA3A8-EAEE-4329-9665-C75FB3BADA55}" dt="2021-06-10T20:55:33.382" v="25" actId="20577"/>
          <ac:spMkLst>
            <pc:docMk/>
            <pc:sldMk cId="2074128736" sldId="2097"/>
            <ac:spMk id="4" creationId="{6EA13D77-F188-4737-BDE8-6465E58A5283}"/>
          </ac:spMkLst>
        </pc:spChg>
      </pc:sldChg>
      <pc:sldChg chg="addSp modSp">
        <pc:chgData name="Burkus Heather D" userId="S::heather.d.burkus@dhsoha.state.or.us::82da8e3a-e2fd-48da-9173-f6efe4e9e7f4" providerId="AD" clId="Web-{08CAA3A8-EAEE-4329-9665-C75FB3BADA55}" dt="2021-06-10T20:53:55.522" v="15" actId="20577"/>
        <pc:sldMkLst>
          <pc:docMk/>
          <pc:sldMk cId="1694468346" sldId="2098"/>
        </pc:sldMkLst>
        <pc:spChg chg="mod">
          <ac:chgData name="Burkus Heather D" userId="S::heather.d.burkus@dhsoha.state.or.us::82da8e3a-e2fd-48da-9173-f6efe4e9e7f4" providerId="AD" clId="Web-{08CAA3A8-EAEE-4329-9665-C75FB3BADA55}" dt="2021-06-10T20:53:55.522" v="15" actId="20577"/>
          <ac:spMkLst>
            <pc:docMk/>
            <pc:sldMk cId="1694468346" sldId="2098"/>
            <ac:spMk id="4" creationId="{6EA13D77-F188-4737-BDE8-6465E58A5283}"/>
          </ac:spMkLst>
        </pc:spChg>
        <pc:picChg chg="add mod">
          <ac:chgData name="Burkus Heather D" userId="S::heather.d.burkus@dhsoha.state.or.us::82da8e3a-e2fd-48da-9173-f6efe4e9e7f4" providerId="AD" clId="Web-{08CAA3A8-EAEE-4329-9665-C75FB3BADA55}" dt="2021-06-10T20:52:59.287" v="5" actId="1076"/>
          <ac:picMkLst>
            <pc:docMk/>
            <pc:sldMk cId="1694468346" sldId="2098"/>
            <ac:picMk id="3" creationId="{4BC7077E-063F-42AB-84F9-A1B964BA9297}"/>
          </ac:picMkLst>
        </pc:picChg>
      </pc:sldChg>
    </pc:docChg>
  </pc:docChgLst>
  <pc:docChgLst>
    <pc:chgData name="Bodi Katherine M" userId="07d9bf93-de6f-4627-8dce-a1187ba4b8f8" providerId="ADAL" clId="{AB1F4383-478D-4602-B611-5BF44C837D91}"/>
    <pc:docChg chg="undo custSel modSld">
      <pc:chgData name="Bodi Katherine M" userId="07d9bf93-de6f-4627-8dce-a1187ba4b8f8" providerId="ADAL" clId="{AB1F4383-478D-4602-B611-5BF44C837D91}" dt="2021-06-10T20:32:16.333" v="1" actId="20577"/>
      <pc:docMkLst>
        <pc:docMk/>
      </pc:docMkLst>
      <pc:sldChg chg="modSp mod">
        <pc:chgData name="Bodi Katherine M" userId="07d9bf93-de6f-4627-8dce-a1187ba4b8f8" providerId="ADAL" clId="{AB1F4383-478D-4602-B611-5BF44C837D91}" dt="2021-06-10T20:32:16.333" v="1" actId="20577"/>
        <pc:sldMkLst>
          <pc:docMk/>
          <pc:sldMk cId="619972361" sldId="2090"/>
        </pc:sldMkLst>
        <pc:spChg chg="mod">
          <ac:chgData name="Bodi Katherine M" userId="07d9bf93-de6f-4627-8dce-a1187ba4b8f8" providerId="ADAL" clId="{AB1F4383-478D-4602-B611-5BF44C837D91}" dt="2021-06-10T20:32:16.333" v="1" actId="20577"/>
          <ac:spMkLst>
            <pc:docMk/>
            <pc:sldMk cId="619972361" sldId="2090"/>
            <ac:spMk id="6" creationId="{CC714093-B8CD-4E30-8DC4-A44A747B2B27}"/>
          </ac:spMkLst>
        </pc:spChg>
      </pc:sldChg>
    </pc:docChg>
  </pc:docChgLst>
  <pc:docChgLst>
    <pc:chgData name="Burkus Heather D" userId="S::heather.d.burkus@dhsoha.state.or.us::82da8e3a-e2fd-48da-9173-f6efe4e9e7f4" providerId="AD" clId="Web-{B1683293-B749-46B2-B73E-0A9B469E2805}"/>
    <pc:docChg chg="modSld">
      <pc:chgData name="Burkus Heather D" userId="S::heather.d.burkus@dhsoha.state.or.us::82da8e3a-e2fd-48da-9173-f6efe4e9e7f4" providerId="AD" clId="Web-{B1683293-B749-46B2-B73E-0A9B469E2805}" dt="2021-06-10T20:25:29.158" v="405" actId="20577"/>
      <pc:docMkLst>
        <pc:docMk/>
      </pc:docMkLst>
      <pc:sldChg chg="modSp">
        <pc:chgData name="Burkus Heather D" userId="S::heather.d.burkus@dhsoha.state.or.us::82da8e3a-e2fd-48da-9173-f6efe4e9e7f4" providerId="AD" clId="Web-{B1683293-B749-46B2-B73E-0A9B469E2805}" dt="2021-06-10T20:23:33.116" v="273" actId="20577"/>
        <pc:sldMkLst>
          <pc:docMk/>
          <pc:sldMk cId="619972361" sldId="2090"/>
        </pc:sldMkLst>
        <pc:spChg chg="mod">
          <ac:chgData name="Burkus Heather D" userId="S::heather.d.burkus@dhsoha.state.or.us::82da8e3a-e2fd-48da-9173-f6efe4e9e7f4" providerId="AD" clId="Web-{B1683293-B749-46B2-B73E-0A9B469E2805}" dt="2021-06-10T20:20:15.942" v="11" actId="20577"/>
          <ac:spMkLst>
            <pc:docMk/>
            <pc:sldMk cId="619972361" sldId="2090"/>
            <ac:spMk id="4" creationId="{3F3201C8-D7FF-48D2-932A-37521AB59148}"/>
          </ac:spMkLst>
        </pc:spChg>
        <pc:spChg chg="mod">
          <ac:chgData name="Burkus Heather D" userId="S::heather.d.burkus@dhsoha.state.or.us::82da8e3a-e2fd-48da-9173-f6efe4e9e7f4" providerId="AD" clId="Web-{B1683293-B749-46B2-B73E-0A9B469E2805}" dt="2021-06-10T20:23:33.116" v="273" actId="20577"/>
          <ac:spMkLst>
            <pc:docMk/>
            <pc:sldMk cId="619972361" sldId="2090"/>
            <ac:spMk id="6" creationId="{CC714093-B8CD-4E30-8DC4-A44A747B2B27}"/>
          </ac:spMkLst>
        </pc:spChg>
        <pc:spChg chg="mod">
          <ac:chgData name="Burkus Heather D" userId="S::heather.d.burkus@dhsoha.state.or.us::82da8e3a-e2fd-48da-9173-f6efe4e9e7f4" providerId="AD" clId="Web-{B1683293-B749-46B2-B73E-0A9B469E2805}" dt="2021-06-10T20:22:34.126" v="252" actId="14100"/>
          <ac:spMkLst>
            <pc:docMk/>
            <pc:sldMk cId="619972361" sldId="2090"/>
            <ac:spMk id="7" creationId="{CB998736-3984-430C-AA27-574CF0EE1095}"/>
          </ac:spMkLst>
        </pc:spChg>
      </pc:sldChg>
      <pc:sldChg chg="modSp">
        <pc:chgData name="Burkus Heather D" userId="S::heather.d.burkus@dhsoha.state.or.us::82da8e3a-e2fd-48da-9173-f6efe4e9e7f4" providerId="AD" clId="Web-{B1683293-B749-46B2-B73E-0A9B469E2805}" dt="2021-06-10T20:25:29.158" v="405" actId="20577"/>
        <pc:sldMkLst>
          <pc:docMk/>
          <pc:sldMk cId="2074128736" sldId="2097"/>
        </pc:sldMkLst>
        <pc:spChg chg="mod">
          <ac:chgData name="Burkus Heather D" userId="S::heather.d.burkus@dhsoha.state.or.us::82da8e3a-e2fd-48da-9173-f6efe4e9e7f4" providerId="AD" clId="Web-{B1683293-B749-46B2-B73E-0A9B469E2805}" dt="2021-06-10T20:25:29.158" v="405" actId="20577"/>
          <ac:spMkLst>
            <pc:docMk/>
            <pc:sldMk cId="2074128736" sldId="2097"/>
            <ac:spMk id="4" creationId="{6EA13D77-F188-4737-BDE8-6465E58A5283}"/>
          </ac:spMkLst>
        </pc:spChg>
      </pc:sldChg>
    </pc:docChg>
  </pc:docChgLst>
  <pc:docChgLst>
    <pc:chgData name="Mooney Erika R" userId="S::erika.r.mooney@dhsoha.state.or.us::d0b1f501-c23c-4a99-b572-4dd7a2355394" providerId="AD" clId="Web-{113A84D8-9F2B-4BBA-A17B-E2BBB3FA8839}"/>
    <pc:docChg chg="modSld">
      <pc:chgData name="Mooney Erika R" userId="S::erika.r.mooney@dhsoha.state.or.us::d0b1f501-c23c-4a99-b572-4dd7a2355394" providerId="AD" clId="Web-{113A84D8-9F2B-4BBA-A17B-E2BBB3FA8839}" dt="2021-06-10T19:14:21.478" v="145" actId="1076"/>
      <pc:docMkLst>
        <pc:docMk/>
      </pc:docMkLst>
      <pc:sldChg chg="modSp">
        <pc:chgData name="Mooney Erika R" userId="S::erika.r.mooney@dhsoha.state.or.us::d0b1f501-c23c-4a99-b572-4dd7a2355394" providerId="AD" clId="Web-{113A84D8-9F2B-4BBA-A17B-E2BBB3FA8839}" dt="2021-06-10T19:14:21.478" v="145" actId="1076"/>
        <pc:sldMkLst>
          <pc:docMk/>
          <pc:sldMk cId="619972361" sldId="2090"/>
        </pc:sldMkLst>
        <pc:spChg chg="mod">
          <ac:chgData name="Mooney Erika R" userId="S::erika.r.mooney@dhsoha.state.or.us::d0b1f501-c23c-4a99-b572-4dd7a2355394" providerId="AD" clId="Web-{113A84D8-9F2B-4BBA-A17B-E2BBB3FA8839}" dt="2021-06-10T19:14:15.541" v="143" actId="20577"/>
          <ac:spMkLst>
            <pc:docMk/>
            <pc:sldMk cId="619972361" sldId="2090"/>
            <ac:spMk id="4" creationId="{3F3201C8-D7FF-48D2-932A-37521AB59148}"/>
          </ac:spMkLst>
        </pc:spChg>
        <pc:spChg chg="mod">
          <ac:chgData name="Mooney Erika R" userId="S::erika.r.mooney@dhsoha.state.or.us::d0b1f501-c23c-4a99-b572-4dd7a2355394" providerId="AD" clId="Web-{113A84D8-9F2B-4BBA-A17B-E2BBB3FA8839}" dt="2021-06-10T19:14:21.478" v="145" actId="1076"/>
          <ac:spMkLst>
            <pc:docMk/>
            <pc:sldMk cId="619972361" sldId="2090"/>
            <ac:spMk id="6" creationId="{CC714093-B8CD-4E30-8DC4-A44A747B2B27}"/>
          </ac:spMkLst>
        </pc:spChg>
        <pc:spChg chg="mod">
          <ac:chgData name="Mooney Erika R" userId="S::erika.r.mooney@dhsoha.state.or.us::d0b1f501-c23c-4a99-b572-4dd7a2355394" providerId="AD" clId="Web-{113A84D8-9F2B-4BBA-A17B-E2BBB3FA8839}" dt="2021-06-10T19:14:19.337" v="144" actId="1076"/>
          <ac:spMkLst>
            <pc:docMk/>
            <pc:sldMk cId="619972361" sldId="2090"/>
            <ac:spMk id="7" creationId="{CB998736-3984-430C-AA27-574CF0EE1095}"/>
          </ac:spMkLst>
        </pc:spChg>
      </pc:sldChg>
    </pc:docChg>
  </pc:docChgLst>
  <pc:docChgLst>
    <pc:chgData name="Mooney Erika R" userId="S::erika.r.mooney@dhsoha.state.or.us::d0b1f501-c23c-4a99-b572-4dd7a2355394" providerId="AD" clId="Web-{C9620A1F-E394-4601-B190-0C030BB2CF30}"/>
    <pc:docChg chg="addSld modSld">
      <pc:chgData name="Mooney Erika R" userId="S::erika.r.mooney@dhsoha.state.or.us::d0b1f501-c23c-4a99-b572-4dd7a2355394" providerId="AD" clId="Web-{C9620A1F-E394-4601-B190-0C030BB2CF30}" dt="2021-06-10T19:09:40.248" v="85" actId="20577"/>
      <pc:docMkLst>
        <pc:docMk/>
      </pc:docMkLst>
      <pc:sldChg chg="addSp modSp">
        <pc:chgData name="Mooney Erika R" userId="S::erika.r.mooney@dhsoha.state.or.us::d0b1f501-c23c-4a99-b572-4dd7a2355394" providerId="AD" clId="Web-{C9620A1F-E394-4601-B190-0C030BB2CF30}" dt="2021-06-10T19:08:40.841" v="67" actId="1076"/>
        <pc:sldMkLst>
          <pc:docMk/>
          <pc:sldMk cId="723912341" sldId="2089"/>
        </pc:sldMkLst>
        <pc:spChg chg="mod">
          <ac:chgData name="Mooney Erika R" userId="S::erika.r.mooney@dhsoha.state.or.us::d0b1f501-c23c-4a99-b572-4dd7a2355394" providerId="AD" clId="Web-{C9620A1F-E394-4601-B190-0C030BB2CF30}" dt="2021-06-10T19:08:28.763" v="63" actId="20577"/>
          <ac:spMkLst>
            <pc:docMk/>
            <pc:sldMk cId="723912341" sldId="2089"/>
            <ac:spMk id="4" creationId="{6EA13D77-F188-4737-BDE8-6465E58A5283}"/>
          </ac:spMkLst>
        </pc:spChg>
        <pc:picChg chg="add mod">
          <ac:chgData name="Mooney Erika R" userId="S::erika.r.mooney@dhsoha.state.or.us::d0b1f501-c23c-4a99-b572-4dd7a2355394" providerId="AD" clId="Web-{C9620A1F-E394-4601-B190-0C030BB2CF30}" dt="2021-06-10T19:08:40.841" v="67" actId="1076"/>
          <ac:picMkLst>
            <pc:docMk/>
            <pc:sldMk cId="723912341" sldId="2089"/>
            <ac:picMk id="3" creationId="{4B269150-A4A7-4831-B6DB-433A03335E8A}"/>
          </ac:picMkLst>
        </pc:picChg>
        <pc:picChg chg="add mod">
          <ac:chgData name="Mooney Erika R" userId="S::erika.r.mooney@dhsoha.state.or.us::d0b1f501-c23c-4a99-b572-4dd7a2355394" providerId="AD" clId="Web-{C9620A1F-E394-4601-B190-0C030BB2CF30}" dt="2021-06-10T19:08:37.701" v="65" actId="1076"/>
          <ac:picMkLst>
            <pc:docMk/>
            <pc:sldMk cId="723912341" sldId="2089"/>
            <ac:picMk id="5" creationId="{327241DB-2814-4FAE-B5A4-61320A65AA25}"/>
          </ac:picMkLst>
        </pc:picChg>
      </pc:sldChg>
      <pc:sldChg chg="modSp add replId">
        <pc:chgData name="Mooney Erika R" userId="S::erika.r.mooney@dhsoha.state.or.us::d0b1f501-c23c-4a99-b572-4dd7a2355394" providerId="AD" clId="Web-{C9620A1F-E394-4601-B190-0C030BB2CF30}" dt="2021-06-10T19:09:40.248" v="85" actId="20577"/>
        <pc:sldMkLst>
          <pc:docMk/>
          <pc:sldMk cId="2074128736" sldId="2097"/>
        </pc:sldMkLst>
        <pc:spChg chg="mod">
          <ac:chgData name="Mooney Erika R" userId="S::erika.r.mooney@dhsoha.state.or.us::d0b1f501-c23c-4a99-b572-4dd7a2355394" providerId="AD" clId="Web-{C9620A1F-E394-4601-B190-0C030BB2CF30}" dt="2021-06-10T19:09:40.248" v="85" actId="20577"/>
          <ac:spMkLst>
            <pc:docMk/>
            <pc:sldMk cId="2074128736" sldId="2097"/>
            <ac:spMk id="4" creationId="{6EA13D77-F188-4737-BDE8-6465E58A5283}"/>
          </ac:spMkLst>
        </pc:spChg>
      </pc:sldChg>
    </pc:docChg>
  </pc:docChgLst>
  <pc:docChgLst>
    <pc:chgData name="Burkus Heather D" userId="S::heather.d.burkus@dhsoha.state.or.us::82da8e3a-e2fd-48da-9173-f6efe4e9e7f4" providerId="AD" clId="Web-{E856F54B-9392-423B-9E08-C01E9067E356}"/>
    <pc:docChg chg="modSld">
      <pc:chgData name="Burkus Heather D" userId="S::heather.d.burkus@dhsoha.state.or.us::82da8e3a-e2fd-48da-9173-f6efe4e9e7f4" providerId="AD" clId="Web-{E856F54B-9392-423B-9E08-C01E9067E356}" dt="2021-06-10T20:43:03.188" v="213" actId="20577"/>
      <pc:docMkLst>
        <pc:docMk/>
      </pc:docMkLst>
      <pc:sldChg chg="modSp">
        <pc:chgData name="Burkus Heather D" userId="S::heather.d.burkus@dhsoha.state.or.us::82da8e3a-e2fd-48da-9173-f6efe4e9e7f4" providerId="AD" clId="Web-{E856F54B-9392-423B-9E08-C01E9067E356}" dt="2021-06-10T20:43:03.188" v="213" actId="20577"/>
        <pc:sldMkLst>
          <pc:docMk/>
          <pc:sldMk cId="2074128736" sldId="2097"/>
        </pc:sldMkLst>
        <pc:spChg chg="mod">
          <ac:chgData name="Burkus Heather D" userId="S::heather.d.burkus@dhsoha.state.or.us::82da8e3a-e2fd-48da-9173-f6efe4e9e7f4" providerId="AD" clId="Web-{E856F54B-9392-423B-9E08-C01E9067E356}" dt="2021-06-10T20:36:12.991" v="17" actId="1076"/>
          <ac:spMkLst>
            <pc:docMk/>
            <pc:sldMk cId="2074128736" sldId="2097"/>
            <ac:spMk id="2" creationId="{8D9D6C35-976E-4D92-AD2D-E2FA928EA5F1}"/>
          </ac:spMkLst>
        </pc:spChg>
        <pc:spChg chg="mod">
          <ac:chgData name="Burkus Heather D" userId="S::heather.d.burkus@dhsoha.state.or.us::82da8e3a-e2fd-48da-9173-f6efe4e9e7f4" providerId="AD" clId="Web-{E856F54B-9392-423B-9E08-C01E9067E356}" dt="2021-06-10T20:43:03.188" v="213" actId="20577"/>
          <ac:spMkLst>
            <pc:docMk/>
            <pc:sldMk cId="2074128736" sldId="2097"/>
            <ac:spMk id="4" creationId="{6EA13D77-F188-4737-BDE8-6465E58A5283}"/>
          </ac:spMkLst>
        </pc:spChg>
      </pc:sldChg>
    </pc:docChg>
  </pc:docChgLst>
  <pc:docChgLst>
    <pc:chgData name="Burkus Heather D" userId="S::heather.d.burkus@dhsoha.state.or.us::82da8e3a-e2fd-48da-9173-f6efe4e9e7f4" providerId="AD" clId="Web-{D8801CB4-2A00-44BB-9DC4-6C4494D9BB46}"/>
    <pc:docChg chg="modSld">
      <pc:chgData name="Burkus Heather D" userId="S::heather.d.burkus@dhsoha.state.or.us::82da8e3a-e2fd-48da-9173-f6efe4e9e7f4" providerId="AD" clId="Web-{D8801CB4-2A00-44BB-9DC4-6C4494D9BB46}" dt="2021-06-10T20:59:33.085" v="9" actId="20577"/>
      <pc:docMkLst>
        <pc:docMk/>
      </pc:docMkLst>
      <pc:sldChg chg="modSp">
        <pc:chgData name="Burkus Heather D" userId="S::heather.d.burkus@dhsoha.state.or.us::82da8e3a-e2fd-48da-9173-f6efe4e9e7f4" providerId="AD" clId="Web-{D8801CB4-2A00-44BB-9DC4-6C4494D9BB46}" dt="2021-06-10T20:59:33.085" v="9" actId="20577"/>
        <pc:sldMkLst>
          <pc:docMk/>
          <pc:sldMk cId="2074128736" sldId="2097"/>
        </pc:sldMkLst>
        <pc:spChg chg="mod">
          <ac:chgData name="Burkus Heather D" userId="S::heather.d.burkus@dhsoha.state.or.us::82da8e3a-e2fd-48da-9173-f6efe4e9e7f4" providerId="AD" clId="Web-{D8801CB4-2A00-44BB-9DC4-6C4494D9BB46}" dt="2021-06-10T20:59:33.085" v="9" actId="20577"/>
          <ac:spMkLst>
            <pc:docMk/>
            <pc:sldMk cId="2074128736" sldId="2097"/>
            <ac:spMk id="4" creationId="{6EA13D77-F188-4737-BDE8-6465E58A5283}"/>
          </ac:spMkLst>
        </pc:spChg>
      </pc:sldChg>
      <pc:sldChg chg="modSp">
        <pc:chgData name="Burkus Heather D" userId="S::heather.d.burkus@dhsoha.state.or.us::82da8e3a-e2fd-48da-9173-f6efe4e9e7f4" providerId="AD" clId="Web-{D8801CB4-2A00-44BB-9DC4-6C4494D9BB46}" dt="2021-06-10T20:58:37.490" v="2" actId="14100"/>
        <pc:sldMkLst>
          <pc:docMk/>
          <pc:sldMk cId="1694468346" sldId="2098"/>
        </pc:sldMkLst>
        <pc:spChg chg="mod">
          <ac:chgData name="Burkus Heather D" userId="S::heather.d.burkus@dhsoha.state.or.us::82da8e3a-e2fd-48da-9173-f6efe4e9e7f4" providerId="AD" clId="Web-{D8801CB4-2A00-44BB-9DC4-6C4494D9BB46}" dt="2021-06-10T20:58:37.490" v="2" actId="14100"/>
          <ac:spMkLst>
            <pc:docMk/>
            <pc:sldMk cId="1694468346" sldId="2098"/>
            <ac:spMk id="4" creationId="{6EA13D77-F188-4737-BDE8-6465E58A5283}"/>
          </ac:spMkLst>
        </pc:spChg>
        <pc:picChg chg="mod modCrop">
          <ac:chgData name="Burkus Heather D" userId="S::heather.d.burkus@dhsoha.state.or.us::82da8e3a-e2fd-48da-9173-f6efe4e9e7f4" providerId="AD" clId="Web-{D8801CB4-2A00-44BB-9DC4-6C4494D9BB46}" dt="2021-06-10T20:58:27.662" v="1"/>
          <ac:picMkLst>
            <pc:docMk/>
            <pc:sldMk cId="1694468346" sldId="2098"/>
            <ac:picMk id="3" creationId="{4BC7077E-063F-42AB-84F9-A1B964BA9297}"/>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FC6B64-A88B-4161-885E-7C0367355856}" type="doc">
      <dgm:prSet loTypeId="urn:microsoft.com/office/officeart/2005/8/layout/list1" loCatId="list" qsTypeId="urn:microsoft.com/office/officeart/2005/8/quickstyle/simple4" qsCatId="simple" csTypeId="urn:microsoft.com/office/officeart/2005/8/colors/colorful1" csCatId="colorful" phldr="1"/>
      <dgm:spPr/>
      <dgm:t>
        <a:bodyPr/>
        <a:lstStyle/>
        <a:p>
          <a:endParaRPr lang="en-US"/>
        </a:p>
      </dgm:t>
    </dgm:pt>
    <dgm:pt modelId="{31780401-E5A3-4620-941D-E2A32279861E}">
      <dgm:prSet/>
      <dgm:spPr>
        <a:solidFill>
          <a:schemeClr val="accent1">
            <a:lumMod val="40000"/>
            <a:lumOff val="60000"/>
          </a:schemeClr>
        </a:solidFill>
      </dgm:spPr>
      <dgm:t>
        <a:bodyPr/>
        <a:lstStyle/>
        <a:p>
          <a:r>
            <a:rPr lang="en-US">
              <a:solidFill>
                <a:schemeClr val="accent2">
                  <a:lumMod val="50000"/>
                </a:schemeClr>
              </a:solidFill>
            </a:rPr>
            <a:t>APD LTC and ONE Overview</a:t>
          </a:r>
        </a:p>
      </dgm:t>
    </dgm:pt>
    <dgm:pt modelId="{6C4877A6-BCCC-4F8F-A930-4E14704D00BA}" type="parTrans" cxnId="{1A30BDB3-F5ED-4ADE-8760-082B8D52E197}">
      <dgm:prSet/>
      <dgm:spPr/>
      <dgm:t>
        <a:bodyPr/>
        <a:lstStyle/>
        <a:p>
          <a:endParaRPr lang="en-US"/>
        </a:p>
      </dgm:t>
    </dgm:pt>
    <dgm:pt modelId="{9A90F960-A5AB-4EF6-B11E-48BA7B35EDA7}" type="sibTrans" cxnId="{1A30BDB3-F5ED-4ADE-8760-082B8D52E197}">
      <dgm:prSet/>
      <dgm:spPr/>
      <dgm:t>
        <a:bodyPr/>
        <a:lstStyle/>
        <a:p>
          <a:endParaRPr lang="en-US"/>
        </a:p>
      </dgm:t>
    </dgm:pt>
    <dgm:pt modelId="{97D7CBAB-3187-48B2-B024-7130D5648537}">
      <dgm:prSet/>
      <dgm:spPr>
        <a:ln>
          <a:solidFill>
            <a:schemeClr val="accent1">
              <a:lumMod val="40000"/>
              <a:lumOff val="60000"/>
            </a:schemeClr>
          </a:solidFill>
        </a:ln>
      </dgm:spPr>
      <dgm:t>
        <a:bodyPr/>
        <a:lstStyle/>
        <a:p>
          <a:r>
            <a:rPr lang="en-US"/>
            <a:t>General calculations (DQ's, Patient Liability, Participant Fee)</a:t>
          </a:r>
        </a:p>
      </dgm:t>
    </dgm:pt>
    <dgm:pt modelId="{784459F2-FE60-45E5-9F64-C5A8D676B09D}" type="parTrans" cxnId="{2E699A29-5F13-40D9-83D9-B7F56508DD95}">
      <dgm:prSet/>
      <dgm:spPr/>
      <dgm:t>
        <a:bodyPr/>
        <a:lstStyle/>
        <a:p>
          <a:endParaRPr lang="en-US"/>
        </a:p>
      </dgm:t>
    </dgm:pt>
    <dgm:pt modelId="{A60E5884-600C-4A38-A456-60D425DAAEF3}" type="sibTrans" cxnId="{2E699A29-5F13-40D9-83D9-B7F56508DD95}">
      <dgm:prSet/>
      <dgm:spPr/>
      <dgm:t>
        <a:bodyPr/>
        <a:lstStyle/>
        <a:p>
          <a:endParaRPr lang="en-US"/>
        </a:p>
      </dgm:t>
    </dgm:pt>
    <dgm:pt modelId="{C6C0D957-08A7-496C-B7C6-29BAE04C58C4}">
      <dgm:prSet/>
      <dgm:spPr>
        <a:ln>
          <a:solidFill>
            <a:schemeClr val="accent1">
              <a:lumMod val="40000"/>
              <a:lumOff val="60000"/>
            </a:schemeClr>
          </a:solidFill>
        </a:ln>
      </dgm:spPr>
      <dgm:t>
        <a:bodyPr/>
        <a:lstStyle/>
        <a:p>
          <a:r>
            <a:rPr lang="en-US"/>
            <a:t>Medical (TOA) Hierarchy in ONE</a:t>
          </a:r>
        </a:p>
      </dgm:t>
    </dgm:pt>
    <dgm:pt modelId="{FD715355-0CC3-493B-B0CA-EB6853CB1F98}" type="parTrans" cxnId="{4FB379D9-0EDB-4FC4-9F59-A3F81877B69B}">
      <dgm:prSet/>
      <dgm:spPr/>
      <dgm:t>
        <a:bodyPr/>
        <a:lstStyle/>
        <a:p>
          <a:endParaRPr lang="en-US"/>
        </a:p>
      </dgm:t>
    </dgm:pt>
    <dgm:pt modelId="{2D062C55-C10A-4F4F-96C6-B8418CF08A58}" type="sibTrans" cxnId="{4FB379D9-0EDB-4FC4-9F59-A3F81877B69B}">
      <dgm:prSet/>
      <dgm:spPr/>
      <dgm:t>
        <a:bodyPr/>
        <a:lstStyle/>
        <a:p>
          <a:endParaRPr lang="en-US"/>
        </a:p>
      </dgm:t>
    </dgm:pt>
    <dgm:pt modelId="{C7BE127E-1E6C-40B2-B350-AE65DA707B49}">
      <dgm:prSet/>
      <dgm:spPr>
        <a:solidFill>
          <a:schemeClr val="accent1">
            <a:lumMod val="75000"/>
          </a:schemeClr>
        </a:solidFill>
      </dgm:spPr>
      <dgm:t>
        <a:bodyPr/>
        <a:lstStyle/>
        <a:p>
          <a:r>
            <a:rPr lang="en-US"/>
            <a:t>APD LTC and ONE Service Eligibility</a:t>
          </a:r>
        </a:p>
      </dgm:t>
    </dgm:pt>
    <dgm:pt modelId="{86FEF0B6-200A-40E8-B48D-464284262779}" type="parTrans" cxnId="{373A5BD6-0605-421C-AA90-A544B245918D}">
      <dgm:prSet/>
      <dgm:spPr/>
      <dgm:t>
        <a:bodyPr/>
        <a:lstStyle/>
        <a:p>
          <a:endParaRPr lang="en-US"/>
        </a:p>
      </dgm:t>
    </dgm:pt>
    <dgm:pt modelId="{A665888F-7E67-4AD6-8950-5F7D733D634D}" type="sibTrans" cxnId="{373A5BD6-0605-421C-AA90-A544B245918D}">
      <dgm:prSet/>
      <dgm:spPr/>
      <dgm:t>
        <a:bodyPr/>
        <a:lstStyle/>
        <a:p>
          <a:endParaRPr lang="en-US"/>
        </a:p>
      </dgm:t>
    </dgm:pt>
    <dgm:pt modelId="{CD275D4A-0F8A-4116-9FEF-DF7B33DA066A}">
      <dgm:prSet/>
      <dgm:spPr>
        <a:ln>
          <a:solidFill>
            <a:schemeClr val="accent1">
              <a:lumMod val="75000"/>
            </a:schemeClr>
          </a:solidFill>
        </a:ln>
      </dgm:spPr>
      <dgm:t>
        <a:bodyPr/>
        <a:lstStyle/>
        <a:p>
          <a:r>
            <a:rPr lang="en-US"/>
            <a:t>Service TOA's in ONE</a:t>
          </a:r>
        </a:p>
      </dgm:t>
    </dgm:pt>
    <dgm:pt modelId="{744A2EF7-C52C-4E0C-B759-DB532A898884}" type="parTrans" cxnId="{3ECEACEC-302E-41B1-A215-DDD3D15F38ED}">
      <dgm:prSet/>
      <dgm:spPr/>
      <dgm:t>
        <a:bodyPr/>
        <a:lstStyle/>
        <a:p>
          <a:endParaRPr lang="en-US"/>
        </a:p>
      </dgm:t>
    </dgm:pt>
    <dgm:pt modelId="{5338E429-43AD-4D44-AE80-BA50A7FCE0B3}" type="sibTrans" cxnId="{3ECEACEC-302E-41B1-A215-DDD3D15F38ED}">
      <dgm:prSet/>
      <dgm:spPr/>
      <dgm:t>
        <a:bodyPr/>
        <a:lstStyle/>
        <a:p>
          <a:endParaRPr lang="en-US"/>
        </a:p>
      </dgm:t>
    </dgm:pt>
    <dgm:pt modelId="{5BBFAC0E-42D9-41DE-BC7B-3B9BE2ED8BCE}">
      <dgm:prSet/>
      <dgm:spPr>
        <a:ln>
          <a:solidFill>
            <a:schemeClr val="accent1">
              <a:lumMod val="75000"/>
            </a:schemeClr>
          </a:solidFill>
        </a:ln>
      </dgm:spPr>
      <dgm:t>
        <a:bodyPr/>
        <a:lstStyle/>
        <a:p>
          <a:r>
            <a:rPr lang="en-US"/>
            <a:t>SELG Records</a:t>
          </a:r>
        </a:p>
      </dgm:t>
    </dgm:pt>
    <dgm:pt modelId="{9F4DAA01-EB42-4D37-ADF0-F98029F99D4A}" type="parTrans" cxnId="{8CBFFBE2-B315-47D5-B7F4-0C00F9E315C0}">
      <dgm:prSet/>
      <dgm:spPr/>
      <dgm:t>
        <a:bodyPr/>
        <a:lstStyle/>
        <a:p>
          <a:endParaRPr lang="en-US"/>
        </a:p>
      </dgm:t>
    </dgm:pt>
    <dgm:pt modelId="{E446E393-9737-46B4-9384-210B5983721F}" type="sibTrans" cxnId="{8CBFFBE2-B315-47D5-B7F4-0C00F9E315C0}">
      <dgm:prSet/>
      <dgm:spPr/>
      <dgm:t>
        <a:bodyPr/>
        <a:lstStyle/>
        <a:p>
          <a:endParaRPr lang="en-US"/>
        </a:p>
      </dgm:t>
    </dgm:pt>
    <dgm:pt modelId="{908AD60C-B1FF-493C-B5B1-80EE15BB5B98}">
      <dgm:prSet/>
      <dgm:spPr>
        <a:ln>
          <a:solidFill>
            <a:schemeClr val="accent1">
              <a:lumMod val="75000"/>
            </a:schemeClr>
          </a:solidFill>
        </a:ln>
      </dgm:spPr>
      <dgm:t>
        <a:bodyPr/>
        <a:lstStyle/>
        <a:p>
          <a:r>
            <a:rPr lang="en-US"/>
            <a:t>Actions done in ONE vs Oregon Access</a:t>
          </a:r>
        </a:p>
      </dgm:t>
    </dgm:pt>
    <dgm:pt modelId="{9ADBAD47-AEE0-4050-92B0-AD7CB339AD04}" type="parTrans" cxnId="{E981EDE4-63F5-4CF6-9A63-C545DA54356B}">
      <dgm:prSet/>
      <dgm:spPr/>
      <dgm:t>
        <a:bodyPr/>
        <a:lstStyle/>
        <a:p>
          <a:endParaRPr lang="en-US"/>
        </a:p>
      </dgm:t>
    </dgm:pt>
    <dgm:pt modelId="{F4201104-7984-4C5F-B674-4445872BC394}" type="sibTrans" cxnId="{E981EDE4-63F5-4CF6-9A63-C545DA54356B}">
      <dgm:prSet/>
      <dgm:spPr/>
      <dgm:t>
        <a:bodyPr/>
        <a:lstStyle/>
        <a:p>
          <a:endParaRPr lang="en-US"/>
        </a:p>
      </dgm:t>
    </dgm:pt>
    <dgm:pt modelId="{C23DA702-0AD2-4CAE-B5EE-71C690DCF7F5}">
      <dgm:prSet/>
      <dgm:spPr>
        <a:solidFill>
          <a:schemeClr val="accent2">
            <a:lumMod val="75000"/>
          </a:schemeClr>
        </a:solidFill>
      </dgm:spPr>
      <dgm:t>
        <a:bodyPr/>
        <a:lstStyle/>
        <a:p>
          <a:r>
            <a:rPr lang="en-US"/>
            <a:t>APD LTC and ONE Payment Systems</a:t>
          </a:r>
        </a:p>
      </dgm:t>
    </dgm:pt>
    <dgm:pt modelId="{8E9B1BA8-425D-4F24-A3FD-CDE54879341C}" type="parTrans" cxnId="{E9481E92-FFD3-4EE0-AE87-D12AE5D053D2}">
      <dgm:prSet/>
      <dgm:spPr/>
      <dgm:t>
        <a:bodyPr/>
        <a:lstStyle/>
        <a:p>
          <a:endParaRPr lang="en-US"/>
        </a:p>
      </dgm:t>
    </dgm:pt>
    <dgm:pt modelId="{2A7D13D4-B2D3-403F-BB8F-CF242700FD10}" type="sibTrans" cxnId="{E9481E92-FFD3-4EE0-AE87-D12AE5D053D2}">
      <dgm:prSet/>
      <dgm:spPr/>
      <dgm:t>
        <a:bodyPr/>
        <a:lstStyle/>
        <a:p>
          <a:endParaRPr lang="en-US"/>
        </a:p>
      </dgm:t>
    </dgm:pt>
    <dgm:pt modelId="{CB6AA784-C17A-4A81-B2D2-82666B5F5BEC}">
      <dgm:prSet/>
      <dgm:spPr>
        <a:ln>
          <a:solidFill>
            <a:schemeClr val="accent2">
              <a:lumMod val="75000"/>
            </a:schemeClr>
          </a:solidFill>
        </a:ln>
      </dgm:spPr>
      <dgm:t>
        <a:bodyPr/>
        <a:lstStyle/>
        <a:p>
          <a:r>
            <a:rPr lang="en-US"/>
            <a:t>512 and Troubleshooting Payments</a:t>
          </a:r>
        </a:p>
      </dgm:t>
    </dgm:pt>
    <dgm:pt modelId="{DEC73874-E8E7-4A11-8178-8F95C18AE797}" type="parTrans" cxnId="{F42C37E1-D6AF-49B9-BE2B-E9804CBC189A}">
      <dgm:prSet/>
      <dgm:spPr/>
      <dgm:t>
        <a:bodyPr/>
        <a:lstStyle/>
        <a:p>
          <a:endParaRPr lang="en-US"/>
        </a:p>
      </dgm:t>
    </dgm:pt>
    <dgm:pt modelId="{EE1FE36F-BD19-44DF-93E7-9E0DB0358A2F}" type="sibTrans" cxnId="{F42C37E1-D6AF-49B9-BE2B-E9804CBC189A}">
      <dgm:prSet/>
      <dgm:spPr/>
      <dgm:t>
        <a:bodyPr/>
        <a:lstStyle/>
        <a:p>
          <a:endParaRPr lang="en-US"/>
        </a:p>
      </dgm:t>
    </dgm:pt>
    <dgm:pt modelId="{A6D68F31-FE91-411C-B954-4DCDA33B1843}">
      <dgm:prSet/>
      <dgm:spPr>
        <a:ln>
          <a:solidFill>
            <a:schemeClr val="accent2">
              <a:lumMod val="75000"/>
            </a:schemeClr>
          </a:solidFill>
        </a:ln>
      </dgm:spPr>
      <dgm:t>
        <a:bodyPr/>
        <a:lstStyle/>
        <a:p>
          <a:r>
            <a:rPr lang="en-US"/>
            <a:t>SFMU and Troubleshooting Payments</a:t>
          </a:r>
        </a:p>
      </dgm:t>
    </dgm:pt>
    <dgm:pt modelId="{B6C70274-861A-4EBA-A63A-0BCA644AE10E}" type="parTrans" cxnId="{412109DE-AC90-4940-A9FE-7FB11D57F639}">
      <dgm:prSet/>
      <dgm:spPr/>
      <dgm:t>
        <a:bodyPr/>
        <a:lstStyle/>
        <a:p>
          <a:endParaRPr lang="en-US"/>
        </a:p>
      </dgm:t>
    </dgm:pt>
    <dgm:pt modelId="{E5B546EA-91DB-4E3D-881B-DFD26134DDBD}" type="sibTrans" cxnId="{412109DE-AC90-4940-A9FE-7FB11D57F639}">
      <dgm:prSet/>
      <dgm:spPr/>
      <dgm:t>
        <a:bodyPr/>
        <a:lstStyle/>
        <a:p>
          <a:endParaRPr lang="en-US"/>
        </a:p>
      </dgm:t>
    </dgm:pt>
    <dgm:pt modelId="{EDB653D2-C0CD-4906-A0C6-648B520BB960}">
      <dgm:prSet/>
      <dgm:spPr>
        <a:solidFill>
          <a:schemeClr val="accent2">
            <a:lumMod val="50000"/>
          </a:schemeClr>
        </a:solidFill>
      </dgm:spPr>
      <dgm:t>
        <a:bodyPr/>
        <a:lstStyle/>
        <a:p>
          <a:r>
            <a:rPr lang="en-US"/>
            <a:t>APD LTC and ONE DQ's, RA's, and ICT's</a:t>
          </a:r>
        </a:p>
      </dgm:t>
    </dgm:pt>
    <dgm:pt modelId="{B9D30F0E-1D12-4EE2-9149-44DDEDD92F28}" type="parTrans" cxnId="{434B4183-A856-47D4-95BB-CF6810468835}">
      <dgm:prSet/>
      <dgm:spPr/>
      <dgm:t>
        <a:bodyPr/>
        <a:lstStyle/>
        <a:p>
          <a:endParaRPr lang="en-US"/>
        </a:p>
      </dgm:t>
    </dgm:pt>
    <dgm:pt modelId="{648828CC-8B7B-44BD-834B-0B4466AE85D0}" type="sibTrans" cxnId="{434B4183-A856-47D4-95BB-CF6810468835}">
      <dgm:prSet/>
      <dgm:spPr/>
      <dgm:t>
        <a:bodyPr/>
        <a:lstStyle/>
        <a:p>
          <a:endParaRPr lang="en-US"/>
        </a:p>
      </dgm:t>
    </dgm:pt>
    <dgm:pt modelId="{E0A46899-0F97-40EA-B009-ABD046142CDF}">
      <dgm:prSet/>
      <dgm:spPr>
        <a:ln>
          <a:solidFill>
            <a:schemeClr val="accent2">
              <a:lumMod val="50000"/>
            </a:schemeClr>
          </a:solidFill>
        </a:ln>
      </dgm:spPr>
      <dgm:t>
        <a:bodyPr/>
        <a:lstStyle/>
        <a:p>
          <a:r>
            <a:rPr lang="en-US"/>
            <a:t>Where to find these in ONE</a:t>
          </a:r>
        </a:p>
      </dgm:t>
    </dgm:pt>
    <dgm:pt modelId="{11E1A24C-577F-43B4-AB07-CAFA931B80D0}" type="parTrans" cxnId="{E8EA5D1E-3E26-4EC2-8239-F53AF10B9766}">
      <dgm:prSet/>
      <dgm:spPr/>
      <dgm:t>
        <a:bodyPr/>
        <a:lstStyle/>
        <a:p>
          <a:endParaRPr lang="en-US"/>
        </a:p>
      </dgm:t>
    </dgm:pt>
    <dgm:pt modelId="{25E57AD7-AF38-46DC-B365-265B8675E5D7}" type="sibTrans" cxnId="{E8EA5D1E-3E26-4EC2-8239-F53AF10B9766}">
      <dgm:prSet/>
      <dgm:spPr/>
      <dgm:t>
        <a:bodyPr/>
        <a:lstStyle/>
        <a:p>
          <a:endParaRPr lang="en-US"/>
        </a:p>
      </dgm:t>
    </dgm:pt>
    <dgm:pt modelId="{BF66E760-97F0-4122-969E-468AECAF3230}">
      <dgm:prSet/>
      <dgm:spPr>
        <a:ln>
          <a:solidFill>
            <a:schemeClr val="accent2">
              <a:lumMod val="50000"/>
            </a:schemeClr>
          </a:solidFill>
        </a:ln>
      </dgm:spPr>
      <dgm:t>
        <a:bodyPr/>
        <a:lstStyle/>
        <a:p>
          <a:r>
            <a:rPr lang="en-US"/>
            <a:t>How ICT's work in ONE</a:t>
          </a:r>
        </a:p>
      </dgm:t>
    </dgm:pt>
    <dgm:pt modelId="{FCF0DA92-4F1E-4686-9CCD-224BEE41B33F}" type="parTrans" cxnId="{F021508A-CE73-4195-AEF4-E3BA33A48AC7}">
      <dgm:prSet/>
      <dgm:spPr/>
      <dgm:t>
        <a:bodyPr/>
        <a:lstStyle/>
        <a:p>
          <a:endParaRPr lang="en-US"/>
        </a:p>
      </dgm:t>
    </dgm:pt>
    <dgm:pt modelId="{2986E90F-3BCE-40D5-8E89-A45086C77A91}" type="sibTrans" cxnId="{F021508A-CE73-4195-AEF4-E3BA33A48AC7}">
      <dgm:prSet/>
      <dgm:spPr/>
      <dgm:t>
        <a:bodyPr/>
        <a:lstStyle/>
        <a:p>
          <a:endParaRPr lang="en-US"/>
        </a:p>
      </dgm:t>
    </dgm:pt>
    <dgm:pt modelId="{C059E3DB-9634-44FE-8026-7F9B6A4F8DBE}" type="pres">
      <dgm:prSet presAssocID="{E9FC6B64-A88B-4161-885E-7C0367355856}" presName="linear" presStyleCnt="0">
        <dgm:presLayoutVars>
          <dgm:dir/>
          <dgm:animLvl val="lvl"/>
          <dgm:resizeHandles val="exact"/>
        </dgm:presLayoutVars>
      </dgm:prSet>
      <dgm:spPr/>
    </dgm:pt>
    <dgm:pt modelId="{94BDCA93-8357-4949-B160-C78B6525C837}" type="pres">
      <dgm:prSet presAssocID="{31780401-E5A3-4620-941D-E2A32279861E}" presName="parentLin" presStyleCnt="0"/>
      <dgm:spPr/>
    </dgm:pt>
    <dgm:pt modelId="{2900C3F0-83A8-48C5-BC6F-B8714909442B}" type="pres">
      <dgm:prSet presAssocID="{31780401-E5A3-4620-941D-E2A32279861E}" presName="parentLeftMargin" presStyleLbl="node1" presStyleIdx="0" presStyleCnt="4"/>
      <dgm:spPr/>
    </dgm:pt>
    <dgm:pt modelId="{DF00DCC1-8C87-4EB5-B818-C7FE0B534BB9}" type="pres">
      <dgm:prSet presAssocID="{31780401-E5A3-4620-941D-E2A32279861E}" presName="parentText" presStyleLbl="node1" presStyleIdx="0" presStyleCnt="4">
        <dgm:presLayoutVars>
          <dgm:chMax val="0"/>
          <dgm:bulletEnabled val="1"/>
        </dgm:presLayoutVars>
      </dgm:prSet>
      <dgm:spPr/>
    </dgm:pt>
    <dgm:pt modelId="{61798B31-1758-41A9-9660-8141E7E10332}" type="pres">
      <dgm:prSet presAssocID="{31780401-E5A3-4620-941D-E2A32279861E}" presName="negativeSpace" presStyleCnt="0"/>
      <dgm:spPr/>
    </dgm:pt>
    <dgm:pt modelId="{B8235091-CC11-4FA5-A96F-C83D51CB9104}" type="pres">
      <dgm:prSet presAssocID="{31780401-E5A3-4620-941D-E2A32279861E}" presName="childText" presStyleLbl="conFgAcc1" presStyleIdx="0" presStyleCnt="4">
        <dgm:presLayoutVars>
          <dgm:bulletEnabled val="1"/>
        </dgm:presLayoutVars>
      </dgm:prSet>
      <dgm:spPr/>
    </dgm:pt>
    <dgm:pt modelId="{03B3E56A-DFF0-4C80-9404-E0BF90774139}" type="pres">
      <dgm:prSet presAssocID="{9A90F960-A5AB-4EF6-B11E-48BA7B35EDA7}" presName="spaceBetweenRectangles" presStyleCnt="0"/>
      <dgm:spPr/>
    </dgm:pt>
    <dgm:pt modelId="{C6A72401-C206-4FF5-A812-B20069204652}" type="pres">
      <dgm:prSet presAssocID="{C7BE127E-1E6C-40B2-B350-AE65DA707B49}" presName="parentLin" presStyleCnt="0"/>
      <dgm:spPr/>
    </dgm:pt>
    <dgm:pt modelId="{8229FC46-B81B-43FD-B3E6-7E9EB225B64E}" type="pres">
      <dgm:prSet presAssocID="{C7BE127E-1E6C-40B2-B350-AE65DA707B49}" presName="parentLeftMargin" presStyleLbl="node1" presStyleIdx="0" presStyleCnt="4"/>
      <dgm:spPr/>
    </dgm:pt>
    <dgm:pt modelId="{DB3CB132-84E0-4B17-89D5-321F63E955E7}" type="pres">
      <dgm:prSet presAssocID="{C7BE127E-1E6C-40B2-B350-AE65DA707B49}" presName="parentText" presStyleLbl="node1" presStyleIdx="1" presStyleCnt="4">
        <dgm:presLayoutVars>
          <dgm:chMax val="0"/>
          <dgm:bulletEnabled val="1"/>
        </dgm:presLayoutVars>
      </dgm:prSet>
      <dgm:spPr/>
    </dgm:pt>
    <dgm:pt modelId="{90F89C0A-09C4-4A8D-9AAE-CFC8A95266DF}" type="pres">
      <dgm:prSet presAssocID="{C7BE127E-1E6C-40B2-B350-AE65DA707B49}" presName="negativeSpace" presStyleCnt="0"/>
      <dgm:spPr/>
    </dgm:pt>
    <dgm:pt modelId="{D6ED3CCF-A7FB-4195-95F0-C4927530AC8D}" type="pres">
      <dgm:prSet presAssocID="{C7BE127E-1E6C-40B2-B350-AE65DA707B49}" presName="childText" presStyleLbl="conFgAcc1" presStyleIdx="1" presStyleCnt="4">
        <dgm:presLayoutVars>
          <dgm:bulletEnabled val="1"/>
        </dgm:presLayoutVars>
      </dgm:prSet>
      <dgm:spPr/>
    </dgm:pt>
    <dgm:pt modelId="{8D55FE72-12B4-4D96-9C14-B9B8BB634710}" type="pres">
      <dgm:prSet presAssocID="{A665888F-7E67-4AD6-8950-5F7D733D634D}" presName="spaceBetweenRectangles" presStyleCnt="0"/>
      <dgm:spPr/>
    </dgm:pt>
    <dgm:pt modelId="{F42EAE52-A0B9-42D6-BA51-D7A1EC79E891}" type="pres">
      <dgm:prSet presAssocID="{C23DA702-0AD2-4CAE-B5EE-71C690DCF7F5}" presName="parentLin" presStyleCnt="0"/>
      <dgm:spPr/>
    </dgm:pt>
    <dgm:pt modelId="{DA45FFA1-EECA-4AD8-952D-FC04B3925A67}" type="pres">
      <dgm:prSet presAssocID="{C23DA702-0AD2-4CAE-B5EE-71C690DCF7F5}" presName="parentLeftMargin" presStyleLbl="node1" presStyleIdx="1" presStyleCnt="4"/>
      <dgm:spPr/>
    </dgm:pt>
    <dgm:pt modelId="{79444150-0C67-402C-9CAA-6470B2541300}" type="pres">
      <dgm:prSet presAssocID="{C23DA702-0AD2-4CAE-B5EE-71C690DCF7F5}" presName="parentText" presStyleLbl="node1" presStyleIdx="2" presStyleCnt="4">
        <dgm:presLayoutVars>
          <dgm:chMax val="0"/>
          <dgm:bulletEnabled val="1"/>
        </dgm:presLayoutVars>
      </dgm:prSet>
      <dgm:spPr/>
    </dgm:pt>
    <dgm:pt modelId="{DFB60FA0-6D57-40B2-9AE7-08285ECE6EBB}" type="pres">
      <dgm:prSet presAssocID="{C23DA702-0AD2-4CAE-B5EE-71C690DCF7F5}" presName="negativeSpace" presStyleCnt="0"/>
      <dgm:spPr/>
    </dgm:pt>
    <dgm:pt modelId="{6F189F0C-EC82-4600-8927-07FFDA741758}" type="pres">
      <dgm:prSet presAssocID="{C23DA702-0AD2-4CAE-B5EE-71C690DCF7F5}" presName="childText" presStyleLbl="conFgAcc1" presStyleIdx="2" presStyleCnt="4">
        <dgm:presLayoutVars>
          <dgm:bulletEnabled val="1"/>
        </dgm:presLayoutVars>
      </dgm:prSet>
      <dgm:spPr/>
    </dgm:pt>
    <dgm:pt modelId="{37F54E31-B763-40DA-BCBD-5D0AD2253C18}" type="pres">
      <dgm:prSet presAssocID="{2A7D13D4-B2D3-403F-BB8F-CF242700FD10}" presName="spaceBetweenRectangles" presStyleCnt="0"/>
      <dgm:spPr/>
    </dgm:pt>
    <dgm:pt modelId="{9DE7515C-D330-4DC0-B698-3E43F5544F5E}" type="pres">
      <dgm:prSet presAssocID="{EDB653D2-C0CD-4906-A0C6-648B520BB960}" presName="parentLin" presStyleCnt="0"/>
      <dgm:spPr/>
    </dgm:pt>
    <dgm:pt modelId="{B48962E1-BA80-4CEE-93B7-CBC460EA4C75}" type="pres">
      <dgm:prSet presAssocID="{EDB653D2-C0CD-4906-A0C6-648B520BB960}" presName="parentLeftMargin" presStyleLbl="node1" presStyleIdx="2" presStyleCnt="4"/>
      <dgm:spPr/>
    </dgm:pt>
    <dgm:pt modelId="{E69B92D2-992D-4CF7-905A-5C0A2E2DD18E}" type="pres">
      <dgm:prSet presAssocID="{EDB653D2-C0CD-4906-A0C6-648B520BB960}" presName="parentText" presStyleLbl="node1" presStyleIdx="3" presStyleCnt="4">
        <dgm:presLayoutVars>
          <dgm:chMax val="0"/>
          <dgm:bulletEnabled val="1"/>
        </dgm:presLayoutVars>
      </dgm:prSet>
      <dgm:spPr/>
    </dgm:pt>
    <dgm:pt modelId="{B265332D-C0F1-42CF-BC38-9A5E97EF3A46}" type="pres">
      <dgm:prSet presAssocID="{EDB653D2-C0CD-4906-A0C6-648B520BB960}" presName="negativeSpace" presStyleCnt="0"/>
      <dgm:spPr/>
    </dgm:pt>
    <dgm:pt modelId="{15A8C1C2-7E44-4932-9446-CA47464AA451}" type="pres">
      <dgm:prSet presAssocID="{EDB653D2-C0CD-4906-A0C6-648B520BB960}" presName="childText" presStyleLbl="conFgAcc1" presStyleIdx="3" presStyleCnt="4">
        <dgm:presLayoutVars>
          <dgm:bulletEnabled val="1"/>
        </dgm:presLayoutVars>
      </dgm:prSet>
      <dgm:spPr/>
    </dgm:pt>
  </dgm:ptLst>
  <dgm:cxnLst>
    <dgm:cxn modelId="{86D31C0A-816D-475B-85F9-6080FAB37C39}" type="presOf" srcId="{C7BE127E-1E6C-40B2-B350-AE65DA707B49}" destId="{8229FC46-B81B-43FD-B3E6-7E9EB225B64E}" srcOrd="0" destOrd="0" presId="urn:microsoft.com/office/officeart/2005/8/layout/list1"/>
    <dgm:cxn modelId="{E8EA5D1E-3E26-4EC2-8239-F53AF10B9766}" srcId="{EDB653D2-C0CD-4906-A0C6-648B520BB960}" destId="{E0A46899-0F97-40EA-B009-ABD046142CDF}" srcOrd="0" destOrd="0" parTransId="{11E1A24C-577F-43B4-AB07-CAFA931B80D0}" sibTransId="{25E57AD7-AF38-46DC-B365-265B8675E5D7}"/>
    <dgm:cxn modelId="{2E699A29-5F13-40D9-83D9-B7F56508DD95}" srcId="{31780401-E5A3-4620-941D-E2A32279861E}" destId="{97D7CBAB-3187-48B2-B024-7130D5648537}" srcOrd="0" destOrd="0" parTransId="{784459F2-FE60-45E5-9F64-C5A8D676B09D}" sibTransId="{A60E5884-600C-4A38-A456-60D425DAAEF3}"/>
    <dgm:cxn modelId="{C7378E32-3BC8-43B7-BBA1-2AA9459476DF}" type="presOf" srcId="{BF66E760-97F0-4122-969E-468AECAF3230}" destId="{15A8C1C2-7E44-4932-9446-CA47464AA451}" srcOrd="0" destOrd="1" presId="urn:microsoft.com/office/officeart/2005/8/layout/list1"/>
    <dgm:cxn modelId="{66352B3C-BE0C-4998-9E0D-F99286FAFC13}" type="presOf" srcId="{CD275D4A-0F8A-4116-9FEF-DF7B33DA066A}" destId="{D6ED3CCF-A7FB-4195-95F0-C4927530AC8D}" srcOrd="0" destOrd="0" presId="urn:microsoft.com/office/officeart/2005/8/layout/list1"/>
    <dgm:cxn modelId="{47F12E3C-31FF-4B07-97E1-40DC3D16EF11}" type="presOf" srcId="{97D7CBAB-3187-48B2-B024-7130D5648537}" destId="{B8235091-CC11-4FA5-A96F-C83D51CB9104}" srcOrd="0" destOrd="0" presId="urn:microsoft.com/office/officeart/2005/8/layout/list1"/>
    <dgm:cxn modelId="{6F79E25B-93F2-4854-B8DC-6A83EECA5BE7}" type="presOf" srcId="{C6C0D957-08A7-496C-B7C6-29BAE04C58C4}" destId="{B8235091-CC11-4FA5-A96F-C83D51CB9104}" srcOrd="0" destOrd="1" presId="urn:microsoft.com/office/officeart/2005/8/layout/list1"/>
    <dgm:cxn modelId="{CE18CC60-F60E-40EA-919A-3E9F0DE4F31B}" type="presOf" srcId="{C7BE127E-1E6C-40B2-B350-AE65DA707B49}" destId="{DB3CB132-84E0-4B17-89D5-321F63E955E7}" srcOrd="1" destOrd="0" presId="urn:microsoft.com/office/officeart/2005/8/layout/list1"/>
    <dgm:cxn modelId="{206E6C41-CC1F-4642-B2DE-DD4B6AA83367}" type="presOf" srcId="{C23DA702-0AD2-4CAE-B5EE-71C690DCF7F5}" destId="{DA45FFA1-EECA-4AD8-952D-FC04B3925A67}" srcOrd="0" destOrd="0" presId="urn:microsoft.com/office/officeart/2005/8/layout/list1"/>
    <dgm:cxn modelId="{562D246B-2426-493F-8BFC-9BE56C08D72B}" type="presOf" srcId="{EDB653D2-C0CD-4906-A0C6-648B520BB960}" destId="{E69B92D2-992D-4CF7-905A-5C0A2E2DD18E}" srcOrd="1" destOrd="0" presId="urn:microsoft.com/office/officeart/2005/8/layout/list1"/>
    <dgm:cxn modelId="{6B178B6B-FA07-4902-BFE3-535A19FC26A9}" type="presOf" srcId="{A6D68F31-FE91-411C-B954-4DCDA33B1843}" destId="{6F189F0C-EC82-4600-8927-07FFDA741758}" srcOrd="0" destOrd="1" presId="urn:microsoft.com/office/officeart/2005/8/layout/list1"/>
    <dgm:cxn modelId="{FCF48C71-4169-4286-97A5-1D28378C9504}" type="presOf" srcId="{EDB653D2-C0CD-4906-A0C6-648B520BB960}" destId="{B48962E1-BA80-4CEE-93B7-CBC460EA4C75}" srcOrd="0" destOrd="0" presId="urn:microsoft.com/office/officeart/2005/8/layout/list1"/>
    <dgm:cxn modelId="{434B4183-A856-47D4-95BB-CF6810468835}" srcId="{E9FC6B64-A88B-4161-885E-7C0367355856}" destId="{EDB653D2-C0CD-4906-A0C6-648B520BB960}" srcOrd="3" destOrd="0" parTransId="{B9D30F0E-1D12-4EE2-9149-44DDEDD92F28}" sibTransId="{648828CC-8B7B-44BD-834B-0B4466AE85D0}"/>
    <dgm:cxn modelId="{082CA787-7EB4-4BE2-B529-EB9B893200D4}" type="presOf" srcId="{E9FC6B64-A88B-4161-885E-7C0367355856}" destId="{C059E3DB-9634-44FE-8026-7F9B6A4F8DBE}" srcOrd="0" destOrd="0" presId="urn:microsoft.com/office/officeart/2005/8/layout/list1"/>
    <dgm:cxn modelId="{F021508A-CE73-4195-AEF4-E3BA33A48AC7}" srcId="{EDB653D2-C0CD-4906-A0C6-648B520BB960}" destId="{BF66E760-97F0-4122-969E-468AECAF3230}" srcOrd="1" destOrd="0" parTransId="{FCF0DA92-4F1E-4686-9CCD-224BEE41B33F}" sibTransId="{2986E90F-3BCE-40D5-8E89-A45086C77A91}"/>
    <dgm:cxn modelId="{E69EB690-163A-4EE4-963D-094BEF7C54B7}" type="presOf" srcId="{5BBFAC0E-42D9-41DE-BC7B-3B9BE2ED8BCE}" destId="{D6ED3CCF-A7FB-4195-95F0-C4927530AC8D}" srcOrd="0" destOrd="1" presId="urn:microsoft.com/office/officeart/2005/8/layout/list1"/>
    <dgm:cxn modelId="{E9481E92-FFD3-4EE0-AE87-D12AE5D053D2}" srcId="{E9FC6B64-A88B-4161-885E-7C0367355856}" destId="{C23DA702-0AD2-4CAE-B5EE-71C690DCF7F5}" srcOrd="2" destOrd="0" parTransId="{8E9B1BA8-425D-4F24-A3FD-CDE54879341C}" sibTransId="{2A7D13D4-B2D3-403F-BB8F-CF242700FD10}"/>
    <dgm:cxn modelId="{1A30BDB3-F5ED-4ADE-8760-082B8D52E197}" srcId="{E9FC6B64-A88B-4161-885E-7C0367355856}" destId="{31780401-E5A3-4620-941D-E2A32279861E}" srcOrd="0" destOrd="0" parTransId="{6C4877A6-BCCC-4F8F-A930-4E14704D00BA}" sibTransId="{9A90F960-A5AB-4EF6-B11E-48BA7B35EDA7}"/>
    <dgm:cxn modelId="{B582F6BE-4547-44C8-A0E5-62F4EC1207EC}" type="presOf" srcId="{C23DA702-0AD2-4CAE-B5EE-71C690DCF7F5}" destId="{79444150-0C67-402C-9CAA-6470B2541300}" srcOrd="1" destOrd="0" presId="urn:microsoft.com/office/officeart/2005/8/layout/list1"/>
    <dgm:cxn modelId="{7C678FC3-F382-441C-AE4B-7247B7FC56E0}" type="presOf" srcId="{CB6AA784-C17A-4A81-B2D2-82666B5F5BEC}" destId="{6F189F0C-EC82-4600-8927-07FFDA741758}" srcOrd="0" destOrd="0" presId="urn:microsoft.com/office/officeart/2005/8/layout/list1"/>
    <dgm:cxn modelId="{DE42D4D4-F9A2-4984-B9E4-D6849888B6B0}" type="presOf" srcId="{E0A46899-0F97-40EA-B009-ABD046142CDF}" destId="{15A8C1C2-7E44-4932-9446-CA47464AA451}" srcOrd="0" destOrd="0" presId="urn:microsoft.com/office/officeart/2005/8/layout/list1"/>
    <dgm:cxn modelId="{373A5BD6-0605-421C-AA90-A544B245918D}" srcId="{E9FC6B64-A88B-4161-885E-7C0367355856}" destId="{C7BE127E-1E6C-40B2-B350-AE65DA707B49}" srcOrd="1" destOrd="0" parTransId="{86FEF0B6-200A-40E8-B48D-464284262779}" sibTransId="{A665888F-7E67-4AD6-8950-5F7D733D634D}"/>
    <dgm:cxn modelId="{4FB379D9-0EDB-4FC4-9F59-A3F81877B69B}" srcId="{31780401-E5A3-4620-941D-E2A32279861E}" destId="{C6C0D957-08A7-496C-B7C6-29BAE04C58C4}" srcOrd="1" destOrd="0" parTransId="{FD715355-0CC3-493B-B0CA-EB6853CB1F98}" sibTransId="{2D062C55-C10A-4F4F-96C6-B8418CF08A58}"/>
    <dgm:cxn modelId="{BE8DCFDD-1165-4190-9C7D-493A6D68AD5F}" type="presOf" srcId="{908AD60C-B1FF-493C-B5B1-80EE15BB5B98}" destId="{D6ED3CCF-A7FB-4195-95F0-C4927530AC8D}" srcOrd="0" destOrd="2" presId="urn:microsoft.com/office/officeart/2005/8/layout/list1"/>
    <dgm:cxn modelId="{412109DE-AC90-4940-A9FE-7FB11D57F639}" srcId="{C23DA702-0AD2-4CAE-B5EE-71C690DCF7F5}" destId="{A6D68F31-FE91-411C-B954-4DCDA33B1843}" srcOrd="1" destOrd="0" parTransId="{B6C70274-861A-4EBA-A63A-0BCA644AE10E}" sibTransId="{E5B546EA-91DB-4E3D-881B-DFD26134DDBD}"/>
    <dgm:cxn modelId="{F42C37E1-D6AF-49B9-BE2B-E9804CBC189A}" srcId="{C23DA702-0AD2-4CAE-B5EE-71C690DCF7F5}" destId="{CB6AA784-C17A-4A81-B2D2-82666B5F5BEC}" srcOrd="0" destOrd="0" parTransId="{DEC73874-E8E7-4A11-8178-8F95C18AE797}" sibTransId="{EE1FE36F-BD19-44DF-93E7-9E0DB0358A2F}"/>
    <dgm:cxn modelId="{8CBFFBE2-B315-47D5-B7F4-0C00F9E315C0}" srcId="{C7BE127E-1E6C-40B2-B350-AE65DA707B49}" destId="{5BBFAC0E-42D9-41DE-BC7B-3B9BE2ED8BCE}" srcOrd="1" destOrd="0" parTransId="{9F4DAA01-EB42-4D37-ADF0-F98029F99D4A}" sibTransId="{E446E393-9737-46B4-9384-210B5983721F}"/>
    <dgm:cxn modelId="{E981EDE4-63F5-4CF6-9A63-C545DA54356B}" srcId="{C7BE127E-1E6C-40B2-B350-AE65DA707B49}" destId="{908AD60C-B1FF-493C-B5B1-80EE15BB5B98}" srcOrd="2" destOrd="0" parTransId="{9ADBAD47-AEE0-4050-92B0-AD7CB339AD04}" sibTransId="{F4201104-7984-4C5F-B674-4445872BC394}"/>
    <dgm:cxn modelId="{3ECEACEC-302E-41B1-A215-DDD3D15F38ED}" srcId="{C7BE127E-1E6C-40B2-B350-AE65DA707B49}" destId="{CD275D4A-0F8A-4116-9FEF-DF7B33DA066A}" srcOrd="0" destOrd="0" parTransId="{744A2EF7-C52C-4E0C-B759-DB532A898884}" sibTransId="{5338E429-43AD-4D44-AE80-BA50A7FCE0B3}"/>
    <dgm:cxn modelId="{1F01D0FA-B891-42AD-9272-4D442D135119}" type="presOf" srcId="{31780401-E5A3-4620-941D-E2A32279861E}" destId="{DF00DCC1-8C87-4EB5-B818-C7FE0B534BB9}" srcOrd="1" destOrd="0" presId="urn:microsoft.com/office/officeart/2005/8/layout/list1"/>
    <dgm:cxn modelId="{440188FF-782D-4B1F-9277-5415E8703390}" type="presOf" srcId="{31780401-E5A3-4620-941D-E2A32279861E}" destId="{2900C3F0-83A8-48C5-BC6F-B8714909442B}" srcOrd="0" destOrd="0" presId="urn:microsoft.com/office/officeart/2005/8/layout/list1"/>
    <dgm:cxn modelId="{8F115119-7EF1-4929-B939-1D0E788C1235}" type="presParOf" srcId="{C059E3DB-9634-44FE-8026-7F9B6A4F8DBE}" destId="{94BDCA93-8357-4949-B160-C78B6525C837}" srcOrd="0" destOrd="0" presId="urn:microsoft.com/office/officeart/2005/8/layout/list1"/>
    <dgm:cxn modelId="{05BF08EF-7B72-4605-8BF1-38EA8158262A}" type="presParOf" srcId="{94BDCA93-8357-4949-B160-C78B6525C837}" destId="{2900C3F0-83A8-48C5-BC6F-B8714909442B}" srcOrd="0" destOrd="0" presId="urn:microsoft.com/office/officeart/2005/8/layout/list1"/>
    <dgm:cxn modelId="{C08AD722-AF72-4489-B3D6-F8061EF9C9AA}" type="presParOf" srcId="{94BDCA93-8357-4949-B160-C78B6525C837}" destId="{DF00DCC1-8C87-4EB5-B818-C7FE0B534BB9}" srcOrd="1" destOrd="0" presId="urn:microsoft.com/office/officeart/2005/8/layout/list1"/>
    <dgm:cxn modelId="{A638516F-0EE4-431D-8E36-DEA2B87544BA}" type="presParOf" srcId="{C059E3DB-9634-44FE-8026-7F9B6A4F8DBE}" destId="{61798B31-1758-41A9-9660-8141E7E10332}" srcOrd="1" destOrd="0" presId="urn:microsoft.com/office/officeart/2005/8/layout/list1"/>
    <dgm:cxn modelId="{8C6300AA-969F-4667-885C-FC62B676B150}" type="presParOf" srcId="{C059E3DB-9634-44FE-8026-7F9B6A4F8DBE}" destId="{B8235091-CC11-4FA5-A96F-C83D51CB9104}" srcOrd="2" destOrd="0" presId="urn:microsoft.com/office/officeart/2005/8/layout/list1"/>
    <dgm:cxn modelId="{A4EB8E08-77C7-4CFF-844C-D1CC3147EC02}" type="presParOf" srcId="{C059E3DB-9634-44FE-8026-7F9B6A4F8DBE}" destId="{03B3E56A-DFF0-4C80-9404-E0BF90774139}" srcOrd="3" destOrd="0" presId="urn:microsoft.com/office/officeart/2005/8/layout/list1"/>
    <dgm:cxn modelId="{A32D4FEB-54D4-4F36-B0F7-F077FAC9580B}" type="presParOf" srcId="{C059E3DB-9634-44FE-8026-7F9B6A4F8DBE}" destId="{C6A72401-C206-4FF5-A812-B20069204652}" srcOrd="4" destOrd="0" presId="urn:microsoft.com/office/officeart/2005/8/layout/list1"/>
    <dgm:cxn modelId="{F761D000-59C4-4D1F-A538-9114A66AC384}" type="presParOf" srcId="{C6A72401-C206-4FF5-A812-B20069204652}" destId="{8229FC46-B81B-43FD-B3E6-7E9EB225B64E}" srcOrd="0" destOrd="0" presId="urn:microsoft.com/office/officeart/2005/8/layout/list1"/>
    <dgm:cxn modelId="{F43B606A-B079-4C4C-A02C-543CAA3DD9AB}" type="presParOf" srcId="{C6A72401-C206-4FF5-A812-B20069204652}" destId="{DB3CB132-84E0-4B17-89D5-321F63E955E7}" srcOrd="1" destOrd="0" presId="urn:microsoft.com/office/officeart/2005/8/layout/list1"/>
    <dgm:cxn modelId="{FB92633E-B48E-49B3-BD52-369C31EDDC56}" type="presParOf" srcId="{C059E3DB-9634-44FE-8026-7F9B6A4F8DBE}" destId="{90F89C0A-09C4-4A8D-9AAE-CFC8A95266DF}" srcOrd="5" destOrd="0" presId="urn:microsoft.com/office/officeart/2005/8/layout/list1"/>
    <dgm:cxn modelId="{40F5382F-214F-496E-A955-D40A77754AAD}" type="presParOf" srcId="{C059E3DB-9634-44FE-8026-7F9B6A4F8DBE}" destId="{D6ED3CCF-A7FB-4195-95F0-C4927530AC8D}" srcOrd="6" destOrd="0" presId="urn:microsoft.com/office/officeart/2005/8/layout/list1"/>
    <dgm:cxn modelId="{93F48A2B-B271-4DCF-88CB-CE914E3FE0AD}" type="presParOf" srcId="{C059E3DB-9634-44FE-8026-7F9B6A4F8DBE}" destId="{8D55FE72-12B4-4D96-9C14-B9B8BB634710}" srcOrd="7" destOrd="0" presId="urn:microsoft.com/office/officeart/2005/8/layout/list1"/>
    <dgm:cxn modelId="{6181D65A-281C-4B52-9514-45C12CEEEFE7}" type="presParOf" srcId="{C059E3DB-9634-44FE-8026-7F9B6A4F8DBE}" destId="{F42EAE52-A0B9-42D6-BA51-D7A1EC79E891}" srcOrd="8" destOrd="0" presId="urn:microsoft.com/office/officeart/2005/8/layout/list1"/>
    <dgm:cxn modelId="{F821F50B-8773-4329-8AEA-B8B82BA7F196}" type="presParOf" srcId="{F42EAE52-A0B9-42D6-BA51-D7A1EC79E891}" destId="{DA45FFA1-EECA-4AD8-952D-FC04B3925A67}" srcOrd="0" destOrd="0" presId="urn:microsoft.com/office/officeart/2005/8/layout/list1"/>
    <dgm:cxn modelId="{D16C39F2-5594-430A-B6E2-0209F7B72904}" type="presParOf" srcId="{F42EAE52-A0B9-42D6-BA51-D7A1EC79E891}" destId="{79444150-0C67-402C-9CAA-6470B2541300}" srcOrd="1" destOrd="0" presId="urn:microsoft.com/office/officeart/2005/8/layout/list1"/>
    <dgm:cxn modelId="{3BBE7072-0C5D-49C4-AD9B-7F09C9422664}" type="presParOf" srcId="{C059E3DB-9634-44FE-8026-7F9B6A4F8DBE}" destId="{DFB60FA0-6D57-40B2-9AE7-08285ECE6EBB}" srcOrd="9" destOrd="0" presId="urn:microsoft.com/office/officeart/2005/8/layout/list1"/>
    <dgm:cxn modelId="{662015DC-5B43-4AC7-AAAB-65EA2BACA259}" type="presParOf" srcId="{C059E3DB-9634-44FE-8026-7F9B6A4F8DBE}" destId="{6F189F0C-EC82-4600-8927-07FFDA741758}" srcOrd="10" destOrd="0" presId="urn:microsoft.com/office/officeart/2005/8/layout/list1"/>
    <dgm:cxn modelId="{64EBE45E-F106-41A8-A7F5-7FDE96C0A750}" type="presParOf" srcId="{C059E3DB-9634-44FE-8026-7F9B6A4F8DBE}" destId="{37F54E31-B763-40DA-BCBD-5D0AD2253C18}" srcOrd="11" destOrd="0" presId="urn:microsoft.com/office/officeart/2005/8/layout/list1"/>
    <dgm:cxn modelId="{A3F16886-CBE4-47CC-BB6D-C607063576AB}" type="presParOf" srcId="{C059E3DB-9634-44FE-8026-7F9B6A4F8DBE}" destId="{9DE7515C-D330-4DC0-B698-3E43F5544F5E}" srcOrd="12" destOrd="0" presId="urn:microsoft.com/office/officeart/2005/8/layout/list1"/>
    <dgm:cxn modelId="{D2C1163F-726E-411D-8FC6-E344A7A89BA6}" type="presParOf" srcId="{9DE7515C-D330-4DC0-B698-3E43F5544F5E}" destId="{B48962E1-BA80-4CEE-93B7-CBC460EA4C75}" srcOrd="0" destOrd="0" presId="urn:microsoft.com/office/officeart/2005/8/layout/list1"/>
    <dgm:cxn modelId="{AA4EF1E7-2764-4C89-8B71-7BDFE3A50DA6}" type="presParOf" srcId="{9DE7515C-D330-4DC0-B698-3E43F5544F5E}" destId="{E69B92D2-992D-4CF7-905A-5C0A2E2DD18E}" srcOrd="1" destOrd="0" presId="urn:microsoft.com/office/officeart/2005/8/layout/list1"/>
    <dgm:cxn modelId="{E529DE17-8A72-4767-BFA6-E40DCEEFBE93}" type="presParOf" srcId="{C059E3DB-9634-44FE-8026-7F9B6A4F8DBE}" destId="{B265332D-C0F1-42CF-BC38-9A5E97EF3A46}" srcOrd="13" destOrd="0" presId="urn:microsoft.com/office/officeart/2005/8/layout/list1"/>
    <dgm:cxn modelId="{15CCBFEF-199D-455F-A34C-C6C7ED56259E}" type="presParOf" srcId="{C059E3DB-9634-44FE-8026-7F9B6A4F8DBE}" destId="{15A8C1C2-7E44-4932-9446-CA47464AA451}" srcOrd="14"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97A3CB5-4D46-468B-B2A7-539D58852991}" type="doc">
      <dgm:prSet loTypeId="urn:microsoft.com/office/officeart/2005/8/layout/list1" loCatId="list" qsTypeId="urn:microsoft.com/office/officeart/2005/8/quickstyle/simple4" qsCatId="simple" csTypeId="urn:microsoft.com/office/officeart/2005/8/colors/colorful1" csCatId="colorful" phldr="1"/>
      <dgm:spPr/>
      <dgm:t>
        <a:bodyPr/>
        <a:lstStyle/>
        <a:p>
          <a:endParaRPr lang="en-US"/>
        </a:p>
      </dgm:t>
    </dgm:pt>
    <dgm:pt modelId="{DFEB78E7-9A2C-4EDB-84D7-7F9DBA6ED55D}">
      <dgm:prSet/>
      <dgm:spPr>
        <a:solidFill>
          <a:schemeClr val="accent1">
            <a:lumMod val="60000"/>
            <a:lumOff val="40000"/>
          </a:schemeClr>
        </a:solidFill>
      </dgm:spPr>
      <dgm:t>
        <a:bodyPr/>
        <a:lstStyle/>
        <a:p>
          <a:r>
            <a:rPr lang="en-US">
              <a:solidFill>
                <a:schemeClr val="accent2">
                  <a:lumMod val="50000"/>
                </a:schemeClr>
              </a:solidFill>
            </a:rPr>
            <a:t>APD LTC and ONE Medical Deductions and Liability</a:t>
          </a:r>
        </a:p>
      </dgm:t>
    </dgm:pt>
    <dgm:pt modelId="{024C1E68-E0A6-4E76-A0D5-5F58F818BBCF}" type="parTrans" cxnId="{8F596B9D-D02A-4D08-8512-64601A0C3E1F}">
      <dgm:prSet/>
      <dgm:spPr/>
      <dgm:t>
        <a:bodyPr/>
        <a:lstStyle/>
        <a:p>
          <a:endParaRPr lang="en-US"/>
        </a:p>
      </dgm:t>
    </dgm:pt>
    <dgm:pt modelId="{00DAFF36-EB46-4D05-B6CC-E643C3F2C7F8}" type="sibTrans" cxnId="{8F596B9D-D02A-4D08-8512-64601A0C3E1F}">
      <dgm:prSet/>
      <dgm:spPr/>
      <dgm:t>
        <a:bodyPr/>
        <a:lstStyle/>
        <a:p>
          <a:endParaRPr lang="en-US"/>
        </a:p>
      </dgm:t>
    </dgm:pt>
    <dgm:pt modelId="{559CD29F-4DAE-4653-9586-CE1A4A6BE3A1}">
      <dgm:prSet/>
      <dgm:spPr/>
      <dgm:t>
        <a:bodyPr/>
        <a:lstStyle/>
        <a:p>
          <a:r>
            <a:rPr lang="en-US"/>
            <a:t>How ONE calculates the Patient Liability and Participant Fee</a:t>
          </a:r>
        </a:p>
      </dgm:t>
    </dgm:pt>
    <dgm:pt modelId="{43FEE4EF-D2F6-465A-B2D7-53A9C3653021}" type="parTrans" cxnId="{81FAABCA-0729-462C-8036-356A3DA4F52F}">
      <dgm:prSet/>
      <dgm:spPr/>
      <dgm:t>
        <a:bodyPr/>
        <a:lstStyle/>
        <a:p>
          <a:endParaRPr lang="en-US"/>
        </a:p>
      </dgm:t>
    </dgm:pt>
    <dgm:pt modelId="{C2A9BCD7-A664-4A60-B2A4-99AC23B4F4B4}" type="sibTrans" cxnId="{81FAABCA-0729-462C-8036-356A3DA4F52F}">
      <dgm:prSet/>
      <dgm:spPr/>
      <dgm:t>
        <a:bodyPr/>
        <a:lstStyle/>
        <a:p>
          <a:endParaRPr lang="en-US"/>
        </a:p>
      </dgm:t>
    </dgm:pt>
    <dgm:pt modelId="{0CFDFF61-93DF-4807-803A-CA5D23F5CF72}">
      <dgm:prSet/>
      <dgm:spPr/>
      <dgm:t>
        <a:bodyPr/>
        <a:lstStyle/>
        <a:p>
          <a:r>
            <a:rPr lang="en-US"/>
            <a:t>OIM's in ONE</a:t>
          </a:r>
        </a:p>
      </dgm:t>
    </dgm:pt>
    <dgm:pt modelId="{7169F764-B018-41D7-8CE7-93A3149043CE}" type="parTrans" cxnId="{85DD3FB1-193A-4ED7-A35D-8B4017473495}">
      <dgm:prSet/>
      <dgm:spPr/>
      <dgm:t>
        <a:bodyPr/>
        <a:lstStyle/>
        <a:p>
          <a:endParaRPr lang="en-US"/>
        </a:p>
      </dgm:t>
    </dgm:pt>
    <dgm:pt modelId="{6D35F395-08FD-4411-BD69-1DE3349B5AF1}" type="sibTrans" cxnId="{85DD3FB1-193A-4ED7-A35D-8B4017473495}">
      <dgm:prSet/>
      <dgm:spPr/>
      <dgm:t>
        <a:bodyPr/>
        <a:lstStyle/>
        <a:p>
          <a:endParaRPr lang="en-US"/>
        </a:p>
      </dgm:t>
    </dgm:pt>
    <dgm:pt modelId="{855FD32D-3FAF-4032-8878-5FAD4AF0C113}">
      <dgm:prSet/>
      <dgm:spPr>
        <a:solidFill>
          <a:schemeClr val="accent1">
            <a:lumMod val="75000"/>
          </a:schemeClr>
        </a:solidFill>
      </dgm:spPr>
      <dgm:t>
        <a:bodyPr/>
        <a:lstStyle/>
        <a:p>
          <a:r>
            <a:rPr lang="en-US"/>
            <a:t>APD LTC and ONE Forms, Notices, and Reports</a:t>
          </a:r>
        </a:p>
      </dgm:t>
    </dgm:pt>
    <dgm:pt modelId="{F1C19878-8833-4676-9469-839DF3427CEC}" type="parTrans" cxnId="{26C0BB52-6520-41EE-9D79-381FD6FD3119}">
      <dgm:prSet/>
      <dgm:spPr/>
      <dgm:t>
        <a:bodyPr/>
        <a:lstStyle/>
        <a:p>
          <a:endParaRPr lang="en-US"/>
        </a:p>
      </dgm:t>
    </dgm:pt>
    <dgm:pt modelId="{428C5BA2-5C7C-48D1-85AA-983FC3BF1F01}" type="sibTrans" cxnId="{26C0BB52-6520-41EE-9D79-381FD6FD3119}">
      <dgm:prSet/>
      <dgm:spPr/>
      <dgm:t>
        <a:bodyPr/>
        <a:lstStyle/>
        <a:p>
          <a:endParaRPr lang="en-US"/>
        </a:p>
      </dgm:t>
    </dgm:pt>
    <dgm:pt modelId="{17B63F6E-8C43-4E52-808B-878A10F0D178}">
      <dgm:prSet/>
      <dgm:spPr>
        <a:ln>
          <a:solidFill>
            <a:schemeClr val="accent1">
              <a:lumMod val="75000"/>
            </a:schemeClr>
          </a:solidFill>
        </a:ln>
      </dgm:spPr>
      <dgm:t>
        <a:bodyPr/>
        <a:lstStyle/>
        <a:p>
          <a:r>
            <a:rPr lang="en-US"/>
            <a:t>Who sends what notice</a:t>
          </a:r>
        </a:p>
      </dgm:t>
    </dgm:pt>
    <dgm:pt modelId="{F41922DE-6092-4E38-80B8-B3E13D109647}" type="parTrans" cxnId="{0F3ABA27-9565-4B6B-A049-49A54C415FB3}">
      <dgm:prSet/>
      <dgm:spPr/>
      <dgm:t>
        <a:bodyPr/>
        <a:lstStyle/>
        <a:p>
          <a:endParaRPr lang="en-US"/>
        </a:p>
      </dgm:t>
    </dgm:pt>
    <dgm:pt modelId="{7D84E9FE-3CEC-400A-AF6A-1940CC8E5789}" type="sibTrans" cxnId="{0F3ABA27-9565-4B6B-A049-49A54C415FB3}">
      <dgm:prSet/>
      <dgm:spPr/>
      <dgm:t>
        <a:bodyPr/>
        <a:lstStyle/>
        <a:p>
          <a:endParaRPr lang="en-US"/>
        </a:p>
      </dgm:t>
    </dgm:pt>
    <dgm:pt modelId="{5CB56B2D-770A-496C-B21E-791EF10BC318}">
      <dgm:prSet/>
      <dgm:spPr>
        <a:ln>
          <a:solidFill>
            <a:schemeClr val="accent1">
              <a:lumMod val="75000"/>
            </a:schemeClr>
          </a:solidFill>
        </a:ln>
      </dgm:spPr>
      <dgm:t>
        <a:bodyPr/>
        <a:lstStyle/>
        <a:p>
          <a:r>
            <a:rPr lang="en-US"/>
            <a:t>What notices need to be sent</a:t>
          </a:r>
        </a:p>
      </dgm:t>
    </dgm:pt>
    <dgm:pt modelId="{533DA0B4-9D6F-422E-9853-8055D9576235}" type="parTrans" cxnId="{DDC2144A-F29E-4218-9BDA-EA69B340817C}">
      <dgm:prSet/>
      <dgm:spPr/>
      <dgm:t>
        <a:bodyPr/>
        <a:lstStyle/>
        <a:p>
          <a:endParaRPr lang="en-US"/>
        </a:p>
      </dgm:t>
    </dgm:pt>
    <dgm:pt modelId="{78C4AA7C-3EFB-40D0-9A33-E30E83E15E3D}" type="sibTrans" cxnId="{DDC2144A-F29E-4218-9BDA-EA69B340817C}">
      <dgm:prSet/>
      <dgm:spPr/>
      <dgm:t>
        <a:bodyPr/>
        <a:lstStyle/>
        <a:p>
          <a:endParaRPr lang="en-US"/>
        </a:p>
      </dgm:t>
    </dgm:pt>
    <dgm:pt modelId="{26295150-0FA6-4746-9C6F-1E279161B0FA}">
      <dgm:prSet/>
      <dgm:spPr>
        <a:ln>
          <a:solidFill>
            <a:schemeClr val="accent1">
              <a:lumMod val="75000"/>
            </a:schemeClr>
          </a:solidFill>
        </a:ln>
      </dgm:spPr>
      <dgm:t>
        <a:bodyPr/>
        <a:lstStyle/>
        <a:p>
          <a:r>
            <a:rPr lang="en-US"/>
            <a:t>How do I find notices sent by ONE</a:t>
          </a:r>
        </a:p>
      </dgm:t>
    </dgm:pt>
    <dgm:pt modelId="{C9CF7860-CEB1-4DBE-8B1C-E1AF6591C78B}" type="parTrans" cxnId="{BF776178-F748-4DC4-B13F-A7805BC10FE5}">
      <dgm:prSet/>
      <dgm:spPr/>
      <dgm:t>
        <a:bodyPr/>
        <a:lstStyle/>
        <a:p>
          <a:endParaRPr lang="en-US"/>
        </a:p>
      </dgm:t>
    </dgm:pt>
    <dgm:pt modelId="{1918C6F1-D61B-47D9-80FD-07899E15BA48}" type="sibTrans" cxnId="{BF776178-F748-4DC4-B13F-A7805BC10FE5}">
      <dgm:prSet/>
      <dgm:spPr/>
      <dgm:t>
        <a:bodyPr/>
        <a:lstStyle/>
        <a:p>
          <a:endParaRPr lang="en-US"/>
        </a:p>
      </dgm:t>
    </dgm:pt>
    <dgm:pt modelId="{DA950409-5125-4DD8-8F38-DDF354EB90B3}">
      <dgm:prSet/>
      <dgm:spPr>
        <a:ln>
          <a:solidFill>
            <a:schemeClr val="accent1">
              <a:lumMod val="75000"/>
            </a:schemeClr>
          </a:solidFill>
        </a:ln>
      </dgm:spPr>
      <dgm:t>
        <a:bodyPr/>
        <a:lstStyle/>
        <a:p>
          <a:r>
            <a:rPr lang="en-US"/>
            <a:t>What Reports are helpful to Case Managers</a:t>
          </a:r>
        </a:p>
      </dgm:t>
    </dgm:pt>
    <dgm:pt modelId="{44F91C1B-67E2-40B1-81C9-9EA49BD0C0C2}" type="parTrans" cxnId="{BF034718-22C7-417E-9815-AC2DFF64E8A1}">
      <dgm:prSet/>
      <dgm:spPr/>
      <dgm:t>
        <a:bodyPr/>
        <a:lstStyle/>
        <a:p>
          <a:endParaRPr lang="en-US"/>
        </a:p>
      </dgm:t>
    </dgm:pt>
    <dgm:pt modelId="{3D370121-720A-4CAA-B97C-3C4B533F0268}" type="sibTrans" cxnId="{BF034718-22C7-417E-9815-AC2DFF64E8A1}">
      <dgm:prSet/>
      <dgm:spPr/>
      <dgm:t>
        <a:bodyPr/>
        <a:lstStyle/>
        <a:p>
          <a:endParaRPr lang="en-US"/>
        </a:p>
      </dgm:t>
    </dgm:pt>
    <dgm:pt modelId="{08F8DE07-7BC2-4202-B813-5BD83327591D}">
      <dgm:prSet/>
      <dgm:spPr>
        <a:solidFill>
          <a:schemeClr val="accent2">
            <a:lumMod val="75000"/>
          </a:schemeClr>
        </a:solidFill>
      </dgm:spPr>
      <dgm:t>
        <a:bodyPr/>
        <a:lstStyle/>
        <a:p>
          <a:r>
            <a:rPr lang="en-US"/>
            <a:t>APD LTC and ONE Medical Related Payments (MRP's)</a:t>
          </a:r>
        </a:p>
      </dgm:t>
    </dgm:pt>
    <dgm:pt modelId="{10C7B1C1-02DB-4A2B-A0B5-1879A2543CB4}" type="parTrans" cxnId="{A8F5653C-CE94-46CE-8494-41230AD4119A}">
      <dgm:prSet/>
      <dgm:spPr/>
      <dgm:t>
        <a:bodyPr/>
        <a:lstStyle/>
        <a:p>
          <a:endParaRPr lang="en-US"/>
        </a:p>
      </dgm:t>
    </dgm:pt>
    <dgm:pt modelId="{8F97A448-CD4E-4310-A9C5-2D54604CE01B}" type="sibTrans" cxnId="{A8F5653C-CE94-46CE-8494-41230AD4119A}">
      <dgm:prSet/>
      <dgm:spPr/>
      <dgm:t>
        <a:bodyPr/>
        <a:lstStyle/>
        <a:p>
          <a:endParaRPr lang="en-US"/>
        </a:p>
      </dgm:t>
    </dgm:pt>
    <dgm:pt modelId="{D98BB2DB-1E1D-4CAC-844E-BEC0CBA4B6AD}">
      <dgm:prSet/>
      <dgm:spPr>
        <a:ln>
          <a:solidFill>
            <a:schemeClr val="accent2">
              <a:lumMod val="75000"/>
            </a:schemeClr>
          </a:solidFill>
        </a:ln>
      </dgm:spPr>
      <dgm:t>
        <a:bodyPr/>
        <a:lstStyle/>
        <a:p>
          <a:r>
            <a:rPr lang="en-US"/>
            <a:t>Which payments require approvals</a:t>
          </a:r>
        </a:p>
      </dgm:t>
    </dgm:pt>
    <dgm:pt modelId="{023C9BFF-3F22-4223-B62E-E59C283B490D}" type="parTrans" cxnId="{680E0993-805E-4086-9078-1E1E1960F0B2}">
      <dgm:prSet/>
      <dgm:spPr/>
      <dgm:t>
        <a:bodyPr/>
        <a:lstStyle/>
        <a:p>
          <a:endParaRPr lang="en-US"/>
        </a:p>
      </dgm:t>
    </dgm:pt>
    <dgm:pt modelId="{EDD94671-DCAE-408E-BCA8-49EABE23B0D2}" type="sibTrans" cxnId="{680E0993-805E-4086-9078-1E1E1960F0B2}">
      <dgm:prSet/>
      <dgm:spPr/>
      <dgm:t>
        <a:bodyPr/>
        <a:lstStyle/>
        <a:p>
          <a:endParaRPr lang="en-US"/>
        </a:p>
      </dgm:t>
    </dgm:pt>
    <dgm:pt modelId="{9411A36E-432B-46D1-9597-C65892F3BDC3}">
      <dgm:prSet/>
      <dgm:spPr>
        <a:ln>
          <a:solidFill>
            <a:schemeClr val="accent2">
              <a:lumMod val="75000"/>
            </a:schemeClr>
          </a:solidFill>
        </a:ln>
      </dgm:spPr>
      <dgm:t>
        <a:bodyPr/>
        <a:lstStyle/>
        <a:p>
          <a:r>
            <a:rPr lang="en-US"/>
            <a:t>Ongoing vs one-time payments</a:t>
          </a:r>
        </a:p>
      </dgm:t>
    </dgm:pt>
    <dgm:pt modelId="{2816FD5C-6146-4171-B30A-04AE5E5A439B}" type="parTrans" cxnId="{5FA84AFE-54E7-4511-AEF3-B82EE6E471C8}">
      <dgm:prSet/>
      <dgm:spPr/>
      <dgm:t>
        <a:bodyPr/>
        <a:lstStyle/>
        <a:p>
          <a:endParaRPr lang="en-US"/>
        </a:p>
      </dgm:t>
    </dgm:pt>
    <dgm:pt modelId="{5397C9EB-1AED-4E54-97B1-CB8E1A932114}" type="sibTrans" cxnId="{5FA84AFE-54E7-4511-AEF3-B82EE6E471C8}">
      <dgm:prSet/>
      <dgm:spPr/>
      <dgm:t>
        <a:bodyPr/>
        <a:lstStyle/>
        <a:p>
          <a:endParaRPr lang="en-US"/>
        </a:p>
      </dgm:t>
    </dgm:pt>
    <dgm:pt modelId="{B1B26879-BC51-4469-AAF9-AF2CE0F2FD8F}">
      <dgm:prSet/>
      <dgm:spPr>
        <a:solidFill>
          <a:schemeClr val="accent2">
            <a:lumMod val="50000"/>
          </a:schemeClr>
        </a:solidFill>
      </dgm:spPr>
      <dgm:t>
        <a:bodyPr/>
        <a:lstStyle/>
        <a:p>
          <a:r>
            <a:rPr lang="en-US"/>
            <a:t>APD LTC and ONE Renewals</a:t>
          </a:r>
        </a:p>
      </dgm:t>
    </dgm:pt>
    <dgm:pt modelId="{6FE49715-4639-4660-9851-01CAAA368F66}" type="parTrans" cxnId="{2EA3B06E-B17D-4C69-AA98-2C49661CCC9A}">
      <dgm:prSet/>
      <dgm:spPr/>
      <dgm:t>
        <a:bodyPr/>
        <a:lstStyle/>
        <a:p>
          <a:endParaRPr lang="en-US"/>
        </a:p>
      </dgm:t>
    </dgm:pt>
    <dgm:pt modelId="{BDBFAFDF-9C97-4F00-8FCF-812FDB5FC317}" type="sibTrans" cxnId="{2EA3B06E-B17D-4C69-AA98-2C49661CCC9A}">
      <dgm:prSet/>
      <dgm:spPr/>
      <dgm:t>
        <a:bodyPr/>
        <a:lstStyle/>
        <a:p>
          <a:endParaRPr lang="en-US"/>
        </a:p>
      </dgm:t>
    </dgm:pt>
    <dgm:pt modelId="{D0F4B6C1-0B24-4C61-8CCF-8A85B9B4DBD1}">
      <dgm:prSet/>
      <dgm:spPr>
        <a:ln>
          <a:solidFill>
            <a:schemeClr val="accent2">
              <a:lumMod val="50000"/>
            </a:schemeClr>
          </a:solidFill>
        </a:ln>
      </dgm:spPr>
      <dgm:t>
        <a:bodyPr/>
        <a:lstStyle/>
        <a:p>
          <a:r>
            <a:rPr lang="en-US"/>
            <a:t>Renewal timelines and notices</a:t>
          </a:r>
        </a:p>
      </dgm:t>
    </dgm:pt>
    <dgm:pt modelId="{B8E450C9-BDC1-487A-BC84-09C35C7DA685}" type="parTrans" cxnId="{65648DC2-3E5A-4423-B517-10192CC23E77}">
      <dgm:prSet/>
      <dgm:spPr/>
      <dgm:t>
        <a:bodyPr/>
        <a:lstStyle/>
        <a:p>
          <a:endParaRPr lang="en-US"/>
        </a:p>
      </dgm:t>
    </dgm:pt>
    <dgm:pt modelId="{E696D400-206A-48AF-9711-87636143C702}" type="sibTrans" cxnId="{65648DC2-3E5A-4423-B517-10192CC23E77}">
      <dgm:prSet/>
      <dgm:spPr/>
      <dgm:t>
        <a:bodyPr/>
        <a:lstStyle/>
        <a:p>
          <a:endParaRPr lang="en-US"/>
        </a:p>
      </dgm:t>
    </dgm:pt>
    <dgm:pt modelId="{6A93574C-C628-4B15-A1AD-6609BDA3DC03}">
      <dgm:prSet/>
      <dgm:spPr>
        <a:ln>
          <a:solidFill>
            <a:schemeClr val="accent2">
              <a:lumMod val="50000"/>
            </a:schemeClr>
          </a:solidFill>
        </a:ln>
      </dgm:spPr>
      <dgm:t>
        <a:bodyPr/>
        <a:lstStyle/>
        <a:p>
          <a:r>
            <a:rPr lang="en-US"/>
            <a:t>Passive vs Active renewals</a:t>
          </a:r>
        </a:p>
      </dgm:t>
    </dgm:pt>
    <dgm:pt modelId="{2BA0AF3D-55C7-4056-AC23-7C7F4B35544D}" type="parTrans" cxnId="{32E20BA5-FA30-42B7-AB6F-9F7ECAD9BBA4}">
      <dgm:prSet/>
      <dgm:spPr/>
      <dgm:t>
        <a:bodyPr/>
        <a:lstStyle/>
        <a:p>
          <a:endParaRPr lang="en-US"/>
        </a:p>
      </dgm:t>
    </dgm:pt>
    <dgm:pt modelId="{46D1D3C2-1734-4614-BE23-1F383A5EBE8E}" type="sibTrans" cxnId="{32E20BA5-FA30-42B7-AB6F-9F7ECAD9BBA4}">
      <dgm:prSet/>
      <dgm:spPr/>
      <dgm:t>
        <a:bodyPr/>
        <a:lstStyle/>
        <a:p>
          <a:endParaRPr lang="en-US"/>
        </a:p>
      </dgm:t>
    </dgm:pt>
    <dgm:pt modelId="{F9461329-6AE6-49F4-88F2-94200321ED21}" type="pres">
      <dgm:prSet presAssocID="{C97A3CB5-4D46-468B-B2A7-539D58852991}" presName="linear" presStyleCnt="0">
        <dgm:presLayoutVars>
          <dgm:dir/>
          <dgm:animLvl val="lvl"/>
          <dgm:resizeHandles val="exact"/>
        </dgm:presLayoutVars>
      </dgm:prSet>
      <dgm:spPr/>
    </dgm:pt>
    <dgm:pt modelId="{807FE59F-09C4-4B53-AB74-A9EB45DB4644}" type="pres">
      <dgm:prSet presAssocID="{DFEB78E7-9A2C-4EDB-84D7-7F9DBA6ED55D}" presName="parentLin" presStyleCnt="0"/>
      <dgm:spPr/>
    </dgm:pt>
    <dgm:pt modelId="{0A11E72A-EA76-418E-B606-149227D81A73}" type="pres">
      <dgm:prSet presAssocID="{DFEB78E7-9A2C-4EDB-84D7-7F9DBA6ED55D}" presName="parentLeftMargin" presStyleLbl="node1" presStyleIdx="0" presStyleCnt="4"/>
      <dgm:spPr/>
    </dgm:pt>
    <dgm:pt modelId="{7EFEDFFA-5FAF-4A7E-94DC-77679DFCF58F}" type="pres">
      <dgm:prSet presAssocID="{DFEB78E7-9A2C-4EDB-84D7-7F9DBA6ED55D}" presName="parentText" presStyleLbl="node1" presStyleIdx="0" presStyleCnt="4">
        <dgm:presLayoutVars>
          <dgm:chMax val="0"/>
          <dgm:bulletEnabled val="1"/>
        </dgm:presLayoutVars>
      </dgm:prSet>
      <dgm:spPr/>
    </dgm:pt>
    <dgm:pt modelId="{248A4983-80F4-4E0F-91FC-78B6AF7BF384}" type="pres">
      <dgm:prSet presAssocID="{DFEB78E7-9A2C-4EDB-84D7-7F9DBA6ED55D}" presName="negativeSpace" presStyleCnt="0"/>
      <dgm:spPr/>
    </dgm:pt>
    <dgm:pt modelId="{EE1E2440-B488-45A7-B6CF-DCF87692F9D6}" type="pres">
      <dgm:prSet presAssocID="{DFEB78E7-9A2C-4EDB-84D7-7F9DBA6ED55D}" presName="childText" presStyleLbl="conFgAcc1" presStyleIdx="0" presStyleCnt="4">
        <dgm:presLayoutVars>
          <dgm:bulletEnabled val="1"/>
        </dgm:presLayoutVars>
      </dgm:prSet>
      <dgm:spPr/>
    </dgm:pt>
    <dgm:pt modelId="{E5F58196-544B-4C05-A2F9-053D4DB4C1C6}" type="pres">
      <dgm:prSet presAssocID="{00DAFF36-EB46-4D05-B6CC-E643C3F2C7F8}" presName="spaceBetweenRectangles" presStyleCnt="0"/>
      <dgm:spPr/>
    </dgm:pt>
    <dgm:pt modelId="{27E3FB91-88A6-433D-9B69-85B85500AAEE}" type="pres">
      <dgm:prSet presAssocID="{855FD32D-3FAF-4032-8878-5FAD4AF0C113}" presName="parentLin" presStyleCnt="0"/>
      <dgm:spPr/>
    </dgm:pt>
    <dgm:pt modelId="{969C38F4-6C4E-4585-A98F-0339647BA724}" type="pres">
      <dgm:prSet presAssocID="{855FD32D-3FAF-4032-8878-5FAD4AF0C113}" presName="parentLeftMargin" presStyleLbl="node1" presStyleIdx="0" presStyleCnt="4"/>
      <dgm:spPr/>
    </dgm:pt>
    <dgm:pt modelId="{B8E9061E-7231-4EBC-9F68-3DCCD5C56EDB}" type="pres">
      <dgm:prSet presAssocID="{855FD32D-3FAF-4032-8878-5FAD4AF0C113}" presName="parentText" presStyleLbl="node1" presStyleIdx="1" presStyleCnt="4">
        <dgm:presLayoutVars>
          <dgm:chMax val="0"/>
          <dgm:bulletEnabled val="1"/>
        </dgm:presLayoutVars>
      </dgm:prSet>
      <dgm:spPr/>
    </dgm:pt>
    <dgm:pt modelId="{14A3458B-7730-4DBB-A111-0C9BBAB6C55E}" type="pres">
      <dgm:prSet presAssocID="{855FD32D-3FAF-4032-8878-5FAD4AF0C113}" presName="negativeSpace" presStyleCnt="0"/>
      <dgm:spPr/>
    </dgm:pt>
    <dgm:pt modelId="{087CD8D3-6858-4FB9-AECA-C41B02ACDE4A}" type="pres">
      <dgm:prSet presAssocID="{855FD32D-3FAF-4032-8878-5FAD4AF0C113}" presName="childText" presStyleLbl="conFgAcc1" presStyleIdx="1" presStyleCnt="4">
        <dgm:presLayoutVars>
          <dgm:bulletEnabled val="1"/>
        </dgm:presLayoutVars>
      </dgm:prSet>
      <dgm:spPr/>
    </dgm:pt>
    <dgm:pt modelId="{ACF5EFA3-B16F-4CA7-8AE9-792F2DE9EF8B}" type="pres">
      <dgm:prSet presAssocID="{428C5BA2-5C7C-48D1-85AA-983FC3BF1F01}" presName="spaceBetweenRectangles" presStyleCnt="0"/>
      <dgm:spPr/>
    </dgm:pt>
    <dgm:pt modelId="{1216C279-54FA-480E-A8A9-A855BED80C46}" type="pres">
      <dgm:prSet presAssocID="{08F8DE07-7BC2-4202-B813-5BD83327591D}" presName="parentLin" presStyleCnt="0"/>
      <dgm:spPr/>
    </dgm:pt>
    <dgm:pt modelId="{9EF61A8C-D457-4A4D-BCE8-BD1BE0B86A04}" type="pres">
      <dgm:prSet presAssocID="{08F8DE07-7BC2-4202-B813-5BD83327591D}" presName="parentLeftMargin" presStyleLbl="node1" presStyleIdx="1" presStyleCnt="4"/>
      <dgm:spPr/>
    </dgm:pt>
    <dgm:pt modelId="{9CE137F0-DDBF-4D68-A1DE-06FC7A366629}" type="pres">
      <dgm:prSet presAssocID="{08F8DE07-7BC2-4202-B813-5BD83327591D}" presName="parentText" presStyleLbl="node1" presStyleIdx="2" presStyleCnt="4">
        <dgm:presLayoutVars>
          <dgm:chMax val="0"/>
          <dgm:bulletEnabled val="1"/>
        </dgm:presLayoutVars>
      </dgm:prSet>
      <dgm:spPr/>
    </dgm:pt>
    <dgm:pt modelId="{8F67F3B4-F40A-4419-8214-76D2632CBD89}" type="pres">
      <dgm:prSet presAssocID="{08F8DE07-7BC2-4202-B813-5BD83327591D}" presName="negativeSpace" presStyleCnt="0"/>
      <dgm:spPr/>
    </dgm:pt>
    <dgm:pt modelId="{B5618FA8-C316-4E0A-82FA-8C38B86605D7}" type="pres">
      <dgm:prSet presAssocID="{08F8DE07-7BC2-4202-B813-5BD83327591D}" presName="childText" presStyleLbl="conFgAcc1" presStyleIdx="2" presStyleCnt="4">
        <dgm:presLayoutVars>
          <dgm:bulletEnabled val="1"/>
        </dgm:presLayoutVars>
      </dgm:prSet>
      <dgm:spPr/>
    </dgm:pt>
    <dgm:pt modelId="{C7F85D9D-8719-4983-92AE-7C763121E4DF}" type="pres">
      <dgm:prSet presAssocID="{8F97A448-CD4E-4310-A9C5-2D54604CE01B}" presName="spaceBetweenRectangles" presStyleCnt="0"/>
      <dgm:spPr/>
    </dgm:pt>
    <dgm:pt modelId="{F49ADC33-C09B-404B-9301-A3BD6427B075}" type="pres">
      <dgm:prSet presAssocID="{B1B26879-BC51-4469-AAF9-AF2CE0F2FD8F}" presName="parentLin" presStyleCnt="0"/>
      <dgm:spPr/>
    </dgm:pt>
    <dgm:pt modelId="{6698ABC2-B3C8-4B3C-BC22-F68EA42D27B0}" type="pres">
      <dgm:prSet presAssocID="{B1B26879-BC51-4469-AAF9-AF2CE0F2FD8F}" presName="parentLeftMargin" presStyleLbl="node1" presStyleIdx="2" presStyleCnt="4"/>
      <dgm:spPr/>
    </dgm:pt>
    <dgm:pt modelId="{B9DEF7FA-BCA6-4FD9-9BED-EBE1FECDB202}" type="pres">
      <dgm:prSet presAssocID="{B1B26879-BC51-4469-AAF9-AF2CE0F2FD8F}" presName="parentText" presStyleLbl="node1" presStyleIdx="3" presStyleCnt="4">
        <dgm:presLayoutVars>
          <dgm:chMax val="0"/>
          <dgm:bulletEnabled val="1"/>
        </dgm:presLayoutVars>
      </dgm:prSet>
      <dgm:spPr/>
    </dgm:pt>
    <dgm:pt modelId="{BD720D87-F026-4FE2-9BDF-973111A551E1}" type="pres">
      <dgm:prSet presAssocID="{B1B26879-BC51-4469-AAF9-AF2CE0F2FD8F}" presName="negativeSpace" presStyleCnt="0"/>
      <dgm:spPr/>
    </dgm:pt>
    <dgm:pt modelId="{B50E9FA0-9E80-4CE7-91A8-CAE21CF026BA}" type="pres">
      <dgm:prSet presAssocID="{B1B26879-BC51-4469-AAF9-AF2CE0F2FD8F}" presName="childText" presStyleLbl="conFgAcc1" presStyleIdx="3" presStyleCnt="4">
        <dgm:presLayoutVars>
          <dgm:bulletEnabled val="1"/>
        </dgm:presLayoutVars>
      </dgm:prSet>
      <dgm:spPr/>
    </dgm:pt>
  </dgm:ptLst>
  <dgm:cxnLst>
    <dgm:cxn modelId="{07FCA801-9004-41EC-90D4-25CD07DFEBF8}" type="presOf" srcId="{6A93574C-C628-4B15-A1AD-6609BDA3DC03}" destId="{B50E9FA0-9E80-4CE7-91A8-CAE21CF026BA}" srcOrd="0" destOrd="1" presId="urn:microsoft.com/office/officeart/2005/8/layout/list1"/>
    <dgm:cxn modelId="{BF034718-22C7-417E-9815-AC2DFF64E8A1}" srcId="{855FD32D-3FAF-4032-8878-5FAD4AF0C113}" destId="{DA950409-5125-4DD8-8F38-DDF354EB90B3}" srcOrd="3" destOrd="0" parTransId="{44F91C1B-67E2-40B1-81C9-9EA49BD0C0C2}" sibTransId="{3D370121-720A-4CAA-B97C-3C4B533F0268}"/>
    <dgm:cxn modelId="{0F3ABA27-9565-4B6B-A049-49A54C415FB3}" srcId="{855FD32D-3FAF-4032-8878-5FAD4AF0C113}" destId="{17B63F6E-8C43-4E52-808B-878A10F0D178}" srcOrd="0" destOrd="0" parTransId="{F41922DE-6092-4E38-80B8-B3E13D109647}" sibTransId="{7D84E9FE-3CEC-400A-AF6A-1940CC8E5789}"/>
    <dgm:cxn modelId="{A8F5653C-CE94-46CE-8494-41230AD4119A}" srcId="{C97A3CB5-4D46-468B-B2A7-539D58852991}" destId="{08F8DE07-7BC2-4202-B813-5BD83327591D}" srcOrd="2" destOrd="0" parTransId="{10C7B1C1-02DB-4A2B-A0B5-1879A2543CB4}" sibTransId="{8F97A448-CD4E-4310-A9C5-2D54604CE01B}"/>
    <dgm:cxn modelId="{EBF86749-4997-424E-96A5-F321375D0068}" type="presOf" srcId="{D98BB2DB-1E1D-4CAC-844E-BEC0CBA4B6AD}" destId="{B5618FA8-C316-4E0A-82FA-8C38B86605D7}" srcOrd="0" destOrd="0" presId="urn:microsoft.com/office/officeart/2005/8/layout/list1"/>
    <dgm:cxn modelId="{DA9FD669-61CE-41A6-A8A3-F3BF73C8CA6E}" type="presOf" srcId="{D0F4B6C1-0B24-4C61-8CCF-8A85B9B4DBD1}" destId="{B50E9FA0-9E80-4CE7-91A8-CAE21CF026BA}" srcOrd="0" destOrd="0" presId="urn:microsoft.com/office/officeart/2005/8/layout/list1"/>
    <dgm:cxn modelId="{DDC2144A-F29E-4218-9BDA-EA69B340817C}" srcId="{855FD32D-3FAF-4032-8878-5FAD4AF0C113}" destId="{5CB56B2D-770A-496C-B21E-791EF10BC318}" srcOrd="1" destOrd="0" parTransId="{533DA0B4-9D6F-422E-9853-8055D9576235}" sibTransId="{78C4AA7C-3EFB-40D0-9A33-E30E83E15E3D}"/>
    <dgm:cxn modelId="{A473FD6B-1BBD-4224-9BD6-AE31C423D84C}" type="presOf" srcId="{17B63F6E-8C43-4E52-808B-878A10F0D178}" destId="{087CD8D3-6858-4FB9-AECA-C41B02ACDE4A}" srcOrd="0" destOrd="0" presId="urn:microsoft.com/office/officeart/2005/8/layout/list1"/>
    <dgm:cxn modelId="{37140C6E-D391-4D64-83A7-91F016A877BB}" type="presOf" srcId="{DA950409-5125-4DD8-8F38-DDF354EB90B3}" destId="{087CD8D3-6858-4FB9-AECA-C41B02ACDE4A}" srcOrd="0" destOrd="3" presId="urn:microsoft.com/office/officeart/2005/8/layout/list1"/>
    <dgm:cxn modelId="{2EA3B06E-B17D-4C69-AA98-2C49661CCC9A}" srcId="{C97A3CB5-4D46-468B-B2A7-539D58852991}" destId="{B1B26879-BC51-4469-AAF9-AF2CE0F2FD8F}" srcOrd="3" destOrd="0" parTransId="{6FE49715-4639-4660-9851-01CAAA368F66}" sibTransId="{BDBFAFDF-9C97-4F00-8FCF-812FDB5FC317}"/>
    <dgm:cxn modelId="{43DA6E71-C9B7-4660-B948-048DA35C9BAD}" type="presOf" srcId="{DFEB78E7-9A2C-4EDB-84D7-7F9DBA6ED55D}" destId="{0A11E72A-EA76-418E-B606-149227D81A73}" srcOrd="0" destOrd="0" presId="urn:microsoft.com/office/officeart/2005/8/layout/list1"/>
    <dgm:cxn modelId="{26C0BB52-6520-41EE-9D79-381FD6FD3119}" srcId="{C97A3CB5-4D46-468B-B2A7-539D58852991}" destId="{855FD32D-3FAF-4032-8878-5FAD4AF0C113}" srcOrd="1" destOrd="0" parTransId="{F1C19878-8833-4676-9469-839DF3427CEC}" sibTransId="{428C5BA2-5C7C-48D1-85AA-983FC3BF1F01}"/>
    <dgm:cxn modelId="{DA26CB55-405C-4503-BDA7-EB967EEF03E6}" type="presOf" srcId="{08F8DE07-7BC2-4202-B813-5BD83327591D}" destId="{9EF61A8C-D457-4A4D-BCE8-BD1BE0B86A04}" srcOrd="0" destOrd="0" presId="urn:microsoft.com/office/officeart/2005/8/layout/list1"/>
    <dgm:cxn modelId="{5764F556-4F14-497A-B417-578D5E401DB3}" type="presOf" srcId="{C97A3CB5-4D46-468B-B2A7-539D58852991}" destId="{F9461329-6AE6-49F4-88F2-94200321ED21}" srcOrd="0" destOrd="0" presId="urn:microsoft.com/office/officeart/2005/8/layout/list1"/>
    <dgm:cxn modelId="{BF776178-F748-4DC4-B13F-A7805BC10FE5}" srcId="{855FD32D-3FAF-4032-8878-5FAD4AF0C113}" destId="{26295150-0FA6-4746-9C6F-1E279161B0FA}" srcOrd="2" destOrd="0" parTransId="{C9CF7860-CEB1-4DBE-8B1C-E1AF6591C78B}" sibTransId="{1918C6F1-D61B-47D9-80FD-07899E15BA48}"/>
    <dgm:cxn modelId="{85BF7A7D-114F-4B0E-A039-B11232A7331B}" type="presOf" srcId="{9411A36E-432B-46D1-9597-C65892F3BDC3}" destId="{B5618FA8-C316-4E0A-82FA-8C38B86605D7}" srcOrd="0" destOrd="1" presId="urn:microsoft.com/office/officeart/2005/8/layout/list1"/>
    <dgm:cxn modelId="{183E1585-3DEE-4E44-A15A-CB7877534C17}" type="presOf" srcId="{DFEB78E7-9A2C-4EDB-84D7-7F9DBA6ED55D}" destId="{7EFEDFFA-5FAF-4A7E-94DC-77679DFCF58F}" srcOrd="1" destOrd="0" presId="urn:microsoft.com/office/officeart/2005/8/layout/list1"/>
    <dgm:cxn modelId="{AEEDC88A-5083-47A5-BC03-F077290751A8}" type="presOf" srcId="{855FD32D-3FAF-4032-8878-5FAD4AF0C113}" destId="{969C38F4-6C4E-4585-A98F-0339647BA724}" srcOrd="0" destOrd="0" presId="urn:microsoft.com/office/officeart/2005/8/layout/list1"/>
    <dgm:cxn modelId="{E608298C-A8C6-45F8-8B07-267E2E911226}" type="presOf" srcId="{0CFDFF61-93DF-4807-803A-CA5D23F5CF72}" destId="{EE1E2440-B488-45A7-B6CF-DCF87692F9D6}" srcOrd="0" destOrd="1" presId="urn:microsoft.com/office/officeart/2005/8/layout/list1"/>
    <dgm:cxn modelId="{680E0993-805E-4086-9078-1E1E1960F0B2}" srcId="{08F8DE07-7BC2-4202-B813-5BD83327591D}" destId="{D98BB2DB-1E1D-4CAC-844E-BEC0CBA4B6AD}" srcOrd="0" destOrd="0" parTransId="{023C9BFF-3F22-4223-B62E-E59C283B490D}" sibTransId="{EDD94671-DCAE-408E-BCA8-49EABE23B0D2}"/>
    <dgm:cxn modelId="{64E0419A-FD79-482B-BEC6-E44392564806}" type="presOf" srcId="{B1B26879-BC51-4469-AAF9-AF2CE0F2FD8F}" destId="{B9DEF7FA-BCA6-4FD9-9BED-EBE1FECDB202}" srcOrd="1" destOrd="0" presId="urn:microsoft.com/office/officeart/2005/8/layout/list1"/>
    <dgm:cxn modelId="{8F596B9D-D02A-4D08-8512-64601A0C3E1F}" srcId="{C97A3CB5-4D46-468B-B2A7-539D58852991}" destId="{DFEB78E7-9A2C-4EDB-84D7-7F9DBA6ED55D}" srcOrd="0" destOrd="0" parTransId="{024C1E68-E0A6-4E76-A0D5-5F58F818BBCF}" sibTransId="{00DAFF36-EB46-4D05-B6CC-E643C3F2C7F8}"/>
    <dgm:cxn modelId="{32E20BA5-FA30-42B7-AB6F-9F7ECAD9BBA4}" srcId="{B1B26879-BC51-4469-AAF9-AF2CE0F2FD8F}" destId="{6A93574C-C628-4B15-A1AD-6609BDA3DC03}" srcOrd="1" destOrd="0" parTransId="{2BA0AF3D-55C7-4056-AC23-7C7F4B35544D}" sibTransId="{46D1D3C2-1734-4614-BE23-1F383A5EBE8E}"/>
    <dgm:cxn modelId="{A345B7A9-301B-45E5-A0EA-3215882B736F}" type="presOf" srcId="{08F8DE07-7BC2-4202-B813-5BD83327591D}" destId="{9CE137F0-DDBF-4D68-A1DE-06FC7A366629}" srcOrd="1" destOrd="0" presId="urn:microsoft.com/office/officeart/2005/8/layout/list1"/>
    <dgm:cxn modelId="{D0222FAF-6376-4088-AB09-74D50E04CA30}" type="presOf" srcId="{559CD29F-4DAE-4653-9586-CE1A4A6BE3A1}" destId="{EE1E2440-B488-45A7-B6CF-DCF87692F9D6}" srcOrd="0" destOrd="0" presId="urn:microsoft.com/office/officeart/2005/8/layout/list1"/>
    <dgm:cxn modelId="{85DD3FB1-193A-4ED7-A35D-8B4017473495}" srcId="{DFEB78E7-9A2C-4EDB-84D7-7F9DBA6ED55D}" destId="{0CFDFF61-93DF-4807-803A-CA5D23F5CF72}" srcOrd="1" destOrd="0" parTransId="{7169F764-B018-41D7-8CE7-93A3149043CE}" sibTransId="{6D35F395-08FD-4411-BD69-1DE3349B5AF1}"/>
    <dgm:cxn modelId="{ADF9CDB2-D735-4795-8449-29D4065E1E8F}" type="presOf" srcId="{855FD32D-3FAF-4032-8878-5FAD4AF0C113}" destId="{B8E9061E-7231-4EBC-9F68-3DCCD5C56EDB}" srcOrd="1" destOrd="0" presId="urn:microsoft.com/office/officeart/2005/8/layout/list1"/>
    <dgm:cxn modelId="{04C6F3BF-6AF0-44C5-9CAC-ECF2DDD98E89}" type="presOf" srcId="{5CB56B2D-770A-496C-B21E-791EF10BC318}" destId="{087CD8D3-6858-4FB9-AECA-C41B02ACDE4A}" srcOrd="0" destOrd="1" presId="urn:microsoft.com/office/officeart/2005/8/layout/list1"/>
    <dgm:cxn modelId="{65648DC2-3E5A-4423-B517-10192CC23E77}" srcId="{B1B26879-BC51-4469-AAF9-AF2CE0F2FD8F}" destId="{D0F4B6C1-0B24-4C61-8CCF-8A85B9B4DBD1}" srcOrd="0" destOrd="0" parTransId="{B8E450C9-BDC1-487A-BC84-09C35C7DA685}" sibTransId="{E696D400-206A-48AF-9711-87636143C702}"/>
    <dgm:cxn modelId="{81FAABCA-0729-462C-8036-356A3DA4F52F}" srcId="{DFEB78E7-9A2C-4EDB-84D7-7F9DBA6ED55D}" destId="{559CD29F-4DAE-4653-9586-CE1A4A6BE3A1}" srcOrd="0" destOrd="0" parTransId="{43FEE4EF-D2F6-465A-B2D7-53A9C3653021}" sibTransId="{C2A9BCD7-A664-4A60-B2A4-99AC23B4F4B4}"/>
    <dgm:cxn modelId="{2AD5DBE5-70F3-40F8-A34A-B082733887EE}" type="presOf" srcId="{26295150-0FA6-4746-9C6F-1E279161B0FA}" destId="{087CD8D3-6858-4FB9-AECA-C41B02ACDE4A}" srcOrd="0" destOrd="2" presId="urn:microsoft.com/office/officeart/2005/8/layout/list1"/>
    <dgm:cxn modelId="{87E68EF4-A1BC-4101-9E8B-63680DC2AC24}" type="presOf" srcId="{B1B26879-BC51-4469-AAF9-AF2CE0F2FD8F}" destId="{6698ABC2-B3C8-4B3C-BC22-F68EA42D27B0}" srcOrd="0" destOrd="0" presId="urn:microsoft.com/office/officeart/2005/8/layout/list1"/>
    <dgm:cxn modelId="{5FA84AFE-54E7-4511-AEF3-B82EE6E471C8}" srcId="{08F8DE07-7BC2-4202-B813-5BD83327591D}" destId="{9411A36E-432B-46D1-9597-C65892F3BDC3}" srcOrd="1" destOrd="0" parTransId="{2816FD5C-6146-4171-B30A-04AE5E5A439B}" sibTransId="{5397C9EB-1AED-4E54-97B1-CB8E1A932114}"/>
    <dgm:cxn modelId="{B95A0C4C-DDAE-4D82-BB56-63A53C39ECBA}" type="presParOf" srcId="{F9461329-6AE6-49F4-88F2-94200321ED21}" destId="{807FE59F-09C4-4B53-AB74-A9EB45DB4644}" srcOrd="0" destOrd="0" presId="urn:microsoft.com/office/officeart/2005/8/layout/list1"/>
    <dgm:cxn modelId="{FF5CE7E7-EDA1-4883-969D-FFCB91CD3F79}" type="presParOf" srcId="{807FE59F-09C4-4B53-AB74-A9EB45DB4644}" destId="{0A11E72A-EA76-418E-B606-149227D81A73}" srcOrd="0" destOrd="0" presId="urn:microsoft.com/office/officeart/2005/8/layout/list1"/>
    <dgm:cxn modelId="{EC445B1E-285A-4B4C-BD01-38BDF8AABCD9}" type="presParOf" srcId="{807FE59F-09C4-4B53-AB74-A9EB45DB4644}" destId="{7EFEDFFA-5FAF-4A7E-94DC-77679DFCF58F}" srcOrd="1" destOrd="0" presId="urn:microsoft.com/office/officeart/2005/8/layout/list1"/>
    <dgm:cxn modelId="{F4B32257-E9B0-45BD-BF50-AB4799DB9D90}" type="presParOf" srcId="{F9461329-6AE6-49F4-88F2-94200321ED21}" destId="{248A4983-80F4-4E0F-91FC-78B6AF7BF384}" srcOrd="1" destOrd="0" presId="urn:microsoft.com/office/officeart/2005/8/layout/list1"/>
    <dgm:cxn modelId="{7731FABC-DF41-425C-89E3-49B355B8CDE8}" type="presParOf" srcId="{F9461329-6AE6-49F4-88F2-94200321ED21}" destId="{EE1E2440-B488-45A7-B6CF-DCF87692F9D6}" srcOrd="2" destOrd="0" presId="urn:microsoft.com/office/officeart/2005/8/layout/list1"/>
    <dgm:cxn modelId="{4D0F7B5F-24AE-4E22-8BFF-18B0AF798A07}" type="presParOf" srcId="{F9461329-6AE6-49F4-88F2-94200321ED21}" destId="{E5F58196-544B-4C05-A2F9-053D4DB4C1C6}" srcOrd="3" destOrd="0" presId="urn:microsoft.com/office/officeart/2005/8/layout/list1"/>
    <dgm:cxn modelId="{EF2597E7-608E-46C7-A5F7-CB2C915E17C9}" type="presParOf" srcId="{F9461329-6AE6-49F4-88F2-94200321ED21}" destId="{27E3FB91-88A6-433D-9B69-85B85500AAEE}" srcOrd="4" destOrd="0" presId="urn:microsoft.com/office/officeart/2005/8/layout/list1"/>
    <dgm:cxn modelId="{008FDE2F-C601-4F8F-A384-DC48FDB1FFB1}" type="presParOf" srcId="{27E3FB91-88A6-433D-9B69-85B85500AAEE}" destId="{969C38F4-6C4E-4585-A98F-0339647BA724}" srcOrd="0" destOrd="0" presId="urn:microsoft.com/office/officeart/2005/8/layout/list1"/>
    <dgm:cxn modelId="{7824A2CC-524A-48D2-B86E-C011DC598FA4}" type="presParOf" srcId="{27E3FB91-88A6-433D-9B69-85B85500AAEE}" destId="{B8E9061E-7231-4EBC-9F68-3DCCD5C56EDB}" srcOrd="1" destOrd="0" presId="urn:microsoft.com/office/officeart/2005/8/layout/list1"/>
    <dgm:cxn modelId="{3110BBEB-C573-44B2-B9CD-FFC78BA106B6}" type="presParOf" srcId="{F9461329-6AE6-49F4-88F2-94200321ED21}" destId="{14A3458B-7730-4DBB-A111-0C9BBAB6C55E}" srcOrd="5" destOrd="0" presId="urn:microsoft.com/office/officeart/2005/8/layout/list1"/>
    <dgm:cxn modelId="{DDD99BC4-1EE3-4AC5-B402-6143569C8BA1}" type="presParOf" srcId="{F9461329-6AE6-49F4-88F2-94200321ED21}" destId="{087CD8D3-6858-4FB9-AECA-C41B02ACDE4A}" srcOrd="6" destOrd="0" presId="urn:microsoft.com/office/officeart/2005/8/layout/list1"/>
    <dgm:cxn modelId="{F94357A8-1341-4862-BEB0-FCF476D3169F}" type="presParOf" srcId="{F9461329-6AE6-49F4-88F2-94200321ED21}" destId="{ACF5EFA3-B16F-4CA7-8AE9-792F2DE9EF8B}" srcOrd="7" destOrd="0" presId="urn:microsoft.com/office/officeart/2005/8/layout/list1"/>
    <dgm:cxn modelId="{F71683E9-4E50-4B3C-ABA8-E3A851652F86}" type="presParOf" srcId="{F9461329-6AE6-49F4-88F2-94200321ED21}" destId="{1216C279-54FA-480E-A8A9-A855BED80C46}" srcOrd="8" destOrd="0" presId="urn:microsoft.com/office/officeart/2005/8/layout/list1"/>
    <dgm:cxn modelId="{35570BD0-846E-4CBF-8534-5A047B7BCF4F}" type="presParOf" srcId="{1216C279-54FA-480E-A8A9-A855BED80C46}" destId="{9EF61A8C-D457-4A4D-BCE8-BD1BE0B86A04}" srcOrd="0" destOrd="0" presId="urn:microsoft.com/office/officeart/2005/8/layout/list1"/>
    <dgm:cxn modelId="{05813FAD-C384-482A-A6AC-D5898DF44BC8}" type="presParOf" srcId="{1216C279-54FA-480E-A8A9-A855BED80C46}" destId="{9CE137F0-DDBF-4D68-A1DE-06FC7A366629}" srcOrd="1" destOrd="0" presId="urn:microsoft.com/office/officeart/2005/8/layout/list1"/>
    <dgm:cxn modelId="{FAA29E6E-15F9-4944-AFB8-EB2E5BEA9787}" type="presParOf" srcId="{F9461329-6AE6-49F4-88F2-94200321ED21}" destId="{8F67F3B4-F40A-4419-8214-76D2632CBD89}" srcOrd="9" destOrd="0" presId="urn:microsoft.com/office/officeart/2005/8/layout/list1"/>
    <dgm:cxn modelId="{32451541-3547-4ED0-9535-57AFDF93E914}" type="presParOf" srcId="{F9461329-6AE6-49F4-88F2-94200321ED21}" destId="{B5618FA8-C316-4E0A-82FA-8C38B86605D7}" srcOrd="10" destOrd="0" presId="urn:microsoft.com/office/officeart/2005/8/layout/list1"/>
    <dgm:cxn modelId="{FABCE6BE-130B-45C8-8BB7-3E9BE20AD0DE}" type="presParOf" srcId="{F9461329-6AE6-49F4-88F2-94200321ED21}" destId="{C7F85D9D-8719-4983-92AE-7C763121E4DF}" srcOrd="11" destOrd="0" presId="urn:microsoft.com/office/officeart/2005/8/layout/list1"/>
    <dgm:cxn modelId="{D759E438-2A28-4927-BAAA-3D48B2D80DA5}" type="presParOf" srcId="{F9461329-6AE6-49F4-88F2-94200321ED21}" destId="{F49ADC33-C09B-404B-9301-A3BD6427B075}" srcOrd="12" destOrd="0" presId="urn:microsoft.com/office/officeart/2005/8/layout/list1"/>
    <dgm:cxn modelId="{229B21B5-3D80-46B2-93E6-DAE5C449E943}" type="presParOf" srcId="{F49ADC33-C09B-404B-9301-A3BD6427B075}" destId="{6698ABC2-B3C8-4B3C-BC22-F68EA42D27B0}" srcOrd="0" destOrd="0" presId="urn:microsoft.com/office/officeart/2005/8/layout/list1"/>
    <dgm:cxn modelId="{E70BCF69-8D7E-426C-92AF-5A8DCD15AE53}" type="presParOf" srcId="{F49ADC33-C09B-404B-9301-A3BD6427B075}" destId="{B9DEF7FA-BCA6-4FD9-9BED-EBE1FECDB202}" srcOrd="1" destOrd="0" presId="urn:microsoft.com/office/officeart/2005/8/layout/list1"/>
    <dgm:cxn modelId="{0F94786F-9DCC-4E5A-94F5-B4B5953EF835}" type="presParOf" srcId="{F9461329-6AE6-49F4-88F2-94200321ED21}" destId="{BD720D87-F026-4FE2-9BDF-973111A551E1}" srcOrd="13" destOrd="0" presId="urn:microsoft.com/office/officeart/2005/8/layout/list1"/>
    <dgm:cxn modelId="{8212FE19-DE2A-4314-8C9B-7CE573EBFDC9}" type="presParOf" srcId="{F9461329-6AE6-49F4-88F2-94200321ED21}" destId="{B50E9FA0-9E80-4CE7-91A8-CAE21CF026BA}"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235091-CC11-4FA5-A96F-C83D51CB9104}">
      <dsp:nvSpPr>
        <dsp:cNvPr id="0" name=""/>
        <dsp:cNvSpPr/>
      </dsp:nvSpPr>
      <dsp:spPr>
        <a:xfrm>
          <a:off x="0" y="292327"/>
          <a:ext cx="6628804" cy="874125"/>
        </a:xfrm>
        <a:prstGeom prst="rect">
          <a:avLst/>
        </a:prstGeom>
        <a:solidFill>
          <a:schemeClr val="lt1">
            <a:alpha val="90000"/>
            <a:hueOff val="0"/>
            <a:satOff val="0"/>
            <a:lumOff val="0"/>
            <a:alphaOff val="0"/>
          </a:schemeClr>
        </a:solidFill>
        <a:ln w="12700" cap="rnd" cmpd="sng" algn="ctr">
          <a:solidFill>
            <a:schemeClr val="accent1">
              <a:lumMod val="40000"/>
              <a:lumOff val="6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General calculations (DQ's, Patient Liability, Participant Fee)</a:t>
          </a:r>
        </a:p>
        <a:p>
          <a:pPr marL="114300" lvl="1" indent="-114300" algn="l" defTabSz="666750">
            <a:lnSpc>
              <a:spcPct val="90000"/>
            </a:lnSpc>
            <a:spcBef>
              <a:spcPct val="0"/>
            </a:spcBef>
            <a:spcAft>
              <a:spcPct val="15000"/>
            </a:spcAft>
            <a:buChar char="•"/>
          </a:pPr>
          <a:r>
            <a:rPr lang="en-US" sz="1500" kern="1200"/>
            <a:t>Medical (TOA) Hierarchy in ONE</a:t>
          </a:r>
        </a:p>
      </dsp:txBody>
      <dsp:txXfrm>
        <a:off x="0" y="292327"/>
        <a:ext cx="6628804" cy="874125"/>
      </dsp:txXfrm>
    </dsp:sp>
    <dsp:sp modelId="{DF00DCC1-8C87-4EB5-B818-C7FE0B534BB9}">
      <dsp:nvSpPr>
        <dsp:cNvPr id="0" name=""/>
        <dsp:cNvSpPr/>
      </dsp:nvSpPr>
      <dsp:spPr>
        <a:xfrm>
          <a:off x="331440" y="70927"/>
          <a:ext cx="4640162" cy="442800"/>
        </a:xfrm>
        <a:prstGeom prst="roundRect">
          <a:avLst/>
        </a:prstGeom>
        <a:solidFill>
          <a:schemeClr val="accent1">
            <a:lumMod val="40000"/>
            <a:lumOff val="6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solidFill>
                <a:schemeClr val="accent2">
                  <a:lumMod val="50000"/>
                </a:schemeClr>
              </a:solidFill>
            </a:rPr>
            <a:t>APD LTC and ONE Overview</a:t>
          </a:r>
        </a:p>
      </dsp:txBody>
      <dsp:txXfrm>
        <a:off x="353056" y="92543"/>
        <a:ext cx="4596930" cy="399568"/>
      </dsp:txXfrm>
    </dsp:sp>
    <dsp:sp modelId="{D6ED3CCF-A7FB-4195-95F0-C4927530AC8D}">
      <dsp:nvSpPr>
        <dsp:cNvPr id="0" name=""/>
        <dsp:cNvSpPr/>
      </dsp:nvSpPr>
      <dsp:spPr>
        <a:xfrm>
          <a:off x="0" y="1468852"/>
          <a:ext cx="6628804" cy="1086750"/>
        </a:xfrm>
        <a:prstGeom prst="rect">
          <a:avLst/>
        </a:prstGeom>
        <a:solidFill>
          <a:schemeClr val="lt1">
            <a:alpha val="90000"/>
            <a:hueOff val="0"/>
            <a:satOff val="0"/>
            <a:lumOff val="0"/>
            <a:alphaOff val="0"/>
          </a:schemeClr>
        </a:solidFill>
        <a:ln w="12700" cap="rnd" cmpd="sng" algn="ctr">
          <a:solidFill>
            <a:schemeClr val="accent1">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Service TOA's in ONE</a:t>
          </a:r>
        </a:p>
        <a:p>
          <a:pPr marL="114300" lvl="1" indent="-114300" algn="l" defTabSz="666750">
            <a:lnSpc>
              <a:spcPct val="90000"/>
            </a:lnSpc>
            <a:spcBef>
              <a:spcPct val="0"/>
            </a:spcBef>
            <a:spcAft>
              <a:spcPct val="15000"/>
            </a:spcAft>
            <a:buChar char="•"/>
          </a:pPr>
          <a:r>
            <a:rPr lang="en-US" sz="1500" kern="1200"/>
            <a:t>SELG Records</a:t>
          </a:r>
        </a:p>
        <a:p>
          <a:pPr marL="114300" lvl="1" indent="-114300" algn="l" defTabSz="666750">
            <a:lnSpc>
              <a:spcPct val="90000"/>
            </a:lnSpc>
            <a:spcBef>
              <a:spcPct val="0"/>
            </a:spcBef>
            <a:spcAft>
              <a:spcPct val="15000"/>
            </a:spcAft>
            <a:buChar char="•"/>
          </a:pPr>
          <a:r>
            <a:rPr lang="en-US" sz="1500" kern="1200"/>
            <a:t>Actions done in ONE vs Oregon Access</a:t>
          </a:r>
        </a:p>
      </dsp:txBody>
      <dsp:txXfrm>
        <a:off x="0" y="1468852"/>
        <a:ext cx="6628804" cy="1086750"/>
      </dsp:txXfrm>
    </dsp:sp>
    <dsp:sp modelId="{DB3CB132-84E0-4B17-89D5-321F63E955E7}">
      <dsp:nvSpPr>
        <dsp:cNvPr id="0" name=""/>
        <dsp:cNvSpPr/>
      </dsp:nvSpPr>
      <dsp:spPr>
        <a:xfrm>
          <a:off x="331440" y="1247452"/>
          <a:ext cx="4640162" cy="442800"/>
        </a:xfrm>
        <a:prstGeom prst="roundRect">
          <a:avLst/>
        </a:prstGeom>
        <a:solidFill>
          <a:schemeClr val="accent1">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t>APD LTC and ONE Service Eligibility</a:t>
          </a:r>
        </a:p>
      </dsp:txBody>
      <dsp:txXfrm>
        <a:off x="353056" y="1269068"/>
        <a:ext cx="4596930" cy="399568"/>
      </dsp:txXfrm>
    </dsp:sp>
    <dsp:sp modelId="{6F189F0C-EC82-4600-8927-07FFDA741758}">
      <dsp:nvSpPr>
        <dsp:cNvPr id="0" name=""/>
        <dsp:cNvSpPr/>
      </dsp:nvSpPr>
      <dsp:spPr>
        <a:xfrm>
          <a:off x="0" y="2858002"/>
          <a:ext cx="6628804" cy="874125"/>
        </a:xfrm>
        <a:prstGeom prst="rect">
          <a:avLst/>
        </a:prstGeom>
        <a:solidFill>
          <a:schemeClr val="lt1">
            <a:alpha val="90000"/>
            <a:hueOff val="0"/>
            <a:satOff val="0"/>
            <a:lumOff val="0"/>
            <a:alphaOff val="0"/>
          </a:schemeClr>
        </a:solidFill>
        <a:ln w="12700" cap="rnd" cmpd="sng" algn="ctr">
          <a:solidFill>
            <a:schemeClr val="accent2">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512 and Troubleshooting Payments</a:t>
          </a:r>
        </a:p>
        <a:p>
          <a:pPr marL="114300" lvl="1" indent="-114300" algn="l" defTabSz="666750">
            <a:lnSpc>
              <a:spcPct val="90000"/>
            </a:lnSpc>
            <a:spcBef>
              <a:spcPct val="0"/>
            </a:spcBef>
            <a:spcAft>
              <a:spcPct val="15000"/>
            </a:spcAft>
            <a:buChar char="•"/>
          </a:pPr>
          <a:r>
            <a:rPr lang="en-US" sz="1500" kern="1200"/>
            <a:t>SFMU and Troubleshooting Payments</a:t>
          </a:r>
        </a:p>
      </dsp:txBody>
      <dsp:txXfrm>
        <a:off x="0" y="2858002"/>
        <a:ext cx="6628804" cy="874125"/>
      </dsp:txXfrm>
    </dsp:sp>
    <dsp:sp modelId="{79444150-0C67-402C-9CAA-6470B2541300}">
      <dsp:nvSpPr>
        <dsp:cNvPr id="0" name=""/>
        <dsp:cNvSpPr/>
      </dsp:nvSpPr>
      <dsp:spPr>
        <a:xfrm>
          <a:off x="331440" y="2636602"/>
          <a:ext cx="4640162" cy="442800"/>
        </a:xfrm>
        <a:prstGeom prst="roundRect">
          <a:avLst/>
        </a:prstGeom>
        <a:solidFill>
          <a:schemeClr val="accent2">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t>APD LTC and ONE Payment Systems</a:t>
          </a:r>
        </a:p>
      </dsp:txBody>
      <dsp:txXfrm>
        <a:off x="353056" y="2658218"/>
        <a:ext cx="4596930" cy="399568"/>
      </dsp:txXfrm>
    </dsp:sp>
    <dsp:sp modelId="{15A8C1C2-7E44-4932-9446-CA47464AA451}">
      <dsp:nvSpPr>
        <dsp:cNvPr id="0" name=""/>
        <dsp:cNvSpPr/>
      </dsp:nvSpPr>
      <dsp:spPr>
        <a:xfrm>
          <a:off x="0" y="4034528"/>
          <a:ext cx="6628804" cy="874125"/>
        </a:xfrm>
        <a:prstGeom prst="rect">
          <a:avLst/>
        </a:prstGeom>
        <a:solidFill>
          <a:schemeClr val="lt1">
            <a:alpha val="90000"/>
            <a:hueOff val="0"/>
            <a:satOff val="0"/>
            <a:lumOff val="0"/>
            <a:alphaOff val="0"/>
          </a:schemeClr>
        </a:solidFill>
        <a:ln w="12700" cap="rnd" cmpd="sng" algn="ctr">
          <a:solidFill>
            <a:schemeClr val="accent2">
              <a:lumMod val="5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312420" rIns="514469"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Where to find these in ONE</a:t>
          </a:r>
        </a:p>
        <a:p>
          <a:pPr marL="114300" lvl="1" indent="-114300" algn="l" defTabSz="666750">
            <a:lnSpc>
              <a:spcPct val="90000"/>
            </a:lnSpc>
            <a:spcBef>
              <a:spcPct val="0"/>
            </a:spcBef>
            <a:spcAft>
              <a:spcPct val="15000"/>
            </a:spcAft>
            <a:buChar char="•"/>
          </a:pPr>
          <a:r>
            <a:rPr lang="en-US" sz="1500" kern="1200"/>
            <a:t>How ICT's work in ONE</a:t>
          </a:r>
        </a:p>
      </dsp:txBody>
      <dsp:txXfrm>
        <a:off x="0" y="4034528"/>
        <a:ext cx="6628804" cy="874125"/>
      </dsp:txXfrm>
    </dsp:sp>
    <dsp:sp modelId="{E69B92D2-992D-4CF7-905A-5C0A2E2DD18E}">
      <dsp:nvSpPr>
        <dsp:cNvPr id="0" name=""/>
        <dsp:cNvSpPr/>
      </dsp:nvSpPr>
      <dsp:spPr>
        <a:xfrm>
          <a:off x="331440" y="3813128"/>
          <a:ext cx="4640162" cy="442800"/>
        </a:xfrm>
        <a:prstGeom prst="roundRect">
          <a:avLst/>
        </a:prstGeom>
        <a:solidFill>
          <a:schemeClr val="accent2">
            <a:lumMod val="5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66750">
            <a:lnSpc>
              <a:spcPct val="90000"/>
            </a:lnSpc>
            <a:spcBef>
              <a:spcPct val="0"/>
            </a:spcBef>
            <a:spcAft>
              <a:spcPct val="35000"/>
            </a:spcAft>
            <a:buNone/>
          </a:pPr>
          <a:r>
            <a:rPr lang="en-US" sz="1500" kern="1200"/>
            <a:t>APD LTC and ONE DQ's, RA's, and ICT's</a:t>
          </a:r>
        </a:p>
      </dsp:txBody>
      <dsp:txXfrm>
        <a:off x="353056" y="3834744"/>
        <a:ext cx="4596930" cy="3995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E2440-B488-45A7-B6CF-DCF87692F9D6}">
      <dsp:nvSpPr>
        <dsp:cNvPr id="0" name=""/>
        <dsp:cNvSpPr/>
      </dsp:nvSpPr>
      <dsp:spPr>
        <a:xfrm>
          <a:off x="0" y="361650"/>
          <a:ext cx="6628804" cy="793800"/>
        </a:xfrm>
        <a:prstGeom prst="rect">
          <a:avLst/>
        </a:prstGeom>
        <a:solidFill>
          <a:schemeClr val="lt1">
            <a:alpha val="90000"/>
            <a:hueOff val="0"/>
            <a:satOff val="0"/>
            <a:lumOff val="0"/>
            <a:alphaOff val="0"/>
          </a:schemeClr>
        </a:solidFill>
        <a:ln w="12700" cap="rnd"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How ONE calculates the Patient Liability and Participant Fee</a:t>
          </a:r>
        </a:p>
        <a:p>
          <a:pPr marL="114300" lvl="1" indent="-114300" algn="l" defTabSz="622300">
            <a:lnSpc>
              <a:spcPct val="90000"/>
            </a:lnSpc>
            <a:spcBef>
              <a:spcPct val="0"/>
            </a:spcBef>
            <a:spcAft>
              <a:spcPct val="15000"/>
            </a:spcAft>
            <a:buChar char="•"/>
          </a:pPr>
          <a:r>
            <a:rPr lang="en-US" sz="1400" kern="1200"/>
            <a:t>OIM's in ONE</a:t>
          </a:r>
        </a:p>
      </dsp:txBody>
      <dsp:txXfrm>
        <a:off x="0" y="361650"/>
        <a:ext cx="6628804" cy="793800"/>
      </dsp:txXfrm>
    </dsp:sp>
    <dsp:sp modelId="{7EFEDFFA-5FAF-4A7E-94DC-77679DFCF58F}">
      <dsp:nvSpPr>
        <dsp:cNvPr id="0" name=""/>
        <dsp:cNvSpPr/>
      </dsp:nvSpPr>
      <dsp:spPr>
        <a:xfrm>
          <a:off x="331440" y="155010"/>
          <a:ext cx="4640162" cy="413280"/>
        </a:xfrm>
        <a:prstGeom prst="roundRect">
          <a:avLst/>
        </a:prstGeom>
        <a:solidFill>
          <a:schemeClr val="accent1">
            <a:lumMod val="60000"/>
            <a:lumOff val="4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accent2">
                  <a:lumMod val="50000"/>
                </a:schemeClr>
              </a:solidFill>
            </a:rPr>
            <a:t>APD LTC and ONE Medical Deductions and Liability</a:t>
          </a:r>
        </a:p>
      </dsp:txBody>
      <dsp:txXfrm>
        <a:off x="351615" y="175185"/>
        <a:ext cx="4599812" cy="372930"/>
      </dsp:txXfrm>
    </dsp:sp>
    <dsp:sp modelId="{087CD8D3-6858-4FB9-AECA-C41B02ACDE4A}">
      <dsp:nvSpPr>
        <dsp:cNvPr id="0" name=""/>
        <dsp:cNvSpPr/>
      </dsp:nvSpPr>
      <dsp:spPr>
        <a:xfrm>
          <a:off x="0" y="1437690"/>
          <a:ext cx="6628804" cy="1234800"/>
        </a:xfrm>
        <a:prstGeom prst="rect">
          <a:avLst/>
        </a:prstGeom>
        <a:solidFill>
          <a:schemeClr val="lt1">
            <a:alpha val="90000"/>
            <a:hueOff val="0"/>
            <a:satOff val="0"/>
            <a:lumOff val="0"/>
            <a:alphaOff val="0"/>
          </a:schemeClr>
        </a:solidFill>
        <a:ln w="12700" cap="rnd" cmpd="sng" algn="ctr">
          <a:solidFill>
            <a:schemeClr val="accent1">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Who sends what notice</a:t>
          </a:r>
        </a:p>
        <a:p>
          <a:pPr marL="114300" lvl="1" indent="-114300" algn="l" defTabSz="622300">
            <a:lnSpc>
              <a:spcPct val="90000"/>
            </a:lnSpc>
            <a:spcBef>
              <a:spcPct val="0"/>
            </a:spcBef>
            <a:spcAft>
              <a:spcPct val="15000"/>
            </a:spcAft>
            <a:buChar char="•"/>
          </a:pPr>
          <a:r>
            <a:rPr lang="en-US" sz="1400" kern="1200"/>
            <a:t>What notices need to be sent</a:t>
          </a:r>
        </a:p>
        <a:p>
          <a:pPr marL="114300" lvl="1" indent="-114300" algn="l" defTabSz="622300">
            <a:lnSpc>
              <a:spcPct val="90000"/>
            </a:lnSpc>
            <a:spcBef>
              <a:spcPct val="0"/>
            </a:spcBef>
            <a:spcAft>
              <a:spcPct val="15000"/>
            </a:spcAft>
            <a:buChar char="•"/>
          </a:pPr>
          <a:r>
            <a:rPr lang="en-US" sz="1400" kern="1200"/>
            <a:t>How do I find notices sent by ONE</a:t>
          </a:r>
        </a:p>
        <a:p>
          <a:pPr marL="114300" lvl="1" indent="-114300" algn="l" defTabSz="622300">
            <a:lnSpc>
              <a:spcPct val="90000"/>
            </a:lnSpc>
            <a:spcBef>
              <a:spcPct val="0"/>
            </a:spcBef>
            <a:spcAft>
              <a:spcPct val="15000"/>
            </a:spcAft>
            <a:buChar char="•"/>
          </a:pPr>
          <a:r>
            <a:rPr lang="en-US" sz="1400" kern="1200"/>
            <a:t>What Reports are helpful to Case Managers</a:t>
          </a:r>
        </a:p>
      </dsp:txBody>
      <dsp:txXfrm>
        <a:off x="0" y="1437690"/>
        <a:ext cx="6628804" cy="1234800"/>
      </dsp:txXfrm>
    </dsp:sp>
    <dsp:sp modelId="{B8E9061E-7231-4EBC-9F68-3DCCD5C56EDB}">
      <dsp:nvSpPr>
        <dsp:cNvPr id="0" name=""/>
        <dsp:cNvSpPr/>
      </dsp:nvSpPr>
      <dsp:spPr>
        <a:xfrm>
          <a:off x="331440" y="1231050"/>
          <a:ext cx="4640162" cy="413280"/>
        </a:xfrm>
        <a:prstGeom prst="roundRect">
          <a:avLst/>
        </a:prstGeom>
        <a:solidFill>
          <a:schemeClr val="accent1">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t>APD LTC and ONE Forms, Notices, and Reports</a:t>
          </a:r>
        </a:p>
      </dsp:txBody>
      <dsp:txXfrm>
        <a:off x="351615" y="1251225"/>
        <a:ext cx="4599812" cy="372930"/>
      </dsp:txXfrm>
    </dsp:sp>
    <dsp:sp modelId="{B5618FA8-C316-4E0A-82FA-8C38B86605D7}">
      <dsp:nvSpPr>
        <dsp:cNvPr id="0" name=""/>
        <dsp:cNvSpPr/>
      </dsp:nvSpPr>
      <dsp:spPr>
        <a:xfrm>
          <a:off x="0" y="2954730"/>
          <a:ext cx="6628804" cy="793800"/>
        </a:xfrm>
        <a:prstGeom prst="rect">
          <a:avLst/>
        </a:prstGeom>
        <a:solidFill>
          <a:schemeClr val="lt1">
            <a:alpha val="90000"/>
            <a:hueOff val="0"/>
            <a:satOff val="0"/>
            <a:lumOff val="0"/>
            <a:alphaOff val="0"/>
          </a:schemeClr>
        </a:solidFill>
        <a:ln w="12700" cap="rnd" cmpd="sng" algn="ctr">
          <a:solidFill>
            <a:schemeClr val="accent2">
              <a:lumMod val="75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Which payments require approvals</a:t>
          </a:r>
        </a:p>
        <a:p>
          <a:pPr marL="114300" lvl="1" indent="-114300" algn="l" defTabSz="622300">
            <a:lnSpc>
              <a:spcPct val="90000"/>
            </a:lnSpc>
            <a:spcBef>
              <a:spcPct val="0"/>
            </a:spcBef>
            <a:spcAft>
              <a:spcPct val="15000"/>
            </a:spcAft>
            <a:buChar char="•"/>
          </a:pPr>
          <a:r>
            <a:rPr lang="en-US" sz="1400" kern="1200"/>
            <a:t>Ongoing vs one-time payments</a:t>
          </a:r>
        </a:p>
      </dsp:txBody>
      <dsp:txXfrm>
        <a:off x="0" y="2954730"/>
        <a:ext cx="6628804" cy="793800"/>
      </dsp:txXfrm>
    </dsp:sp>
    <dsp:sp modelId="{9CE137F0-DDBF-4D68-A1DE-06FC7A366629}">
      <dsp:nvSpPr>
        <dsp:cNvPr id="0" name=""/>
        <dsp:cNvSpPr/>
      </dsp:nvSpPr>
      <dsp:spPr>
        <a:xfrm>
          <a:off x="331440" y="2748090"/>
          <a:ext cx="4640162" cy="413280"/>
        </a:xfrm>
        <a:prstGeom prst="roundRect">
          <a:avLst/>
        </a:prstGeom>
        <a:solidFill>
          <a:schemeClr val="accent2">
            <a:lumMod val="75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t>APD LTC and ONE Medical Related Payments (MRP's)</a:t>
          </a:r>
        </a:p>
      </dsp:txBody>
      <dsp:txXfrm>
        <a:off x="351615" y="2768265"/>
        <a:ext cx="4599812" cy="372930"/>
      </dsp:txXfrm>
    </dsp:sp>
    <dsp:sp modelId="{B50E9FA0-9E80-4CE7-91A8-CAE21CF026BA}">
      <dsp:nvSpPr>
        <dsp:cNvPr id="0" name=""/>
        <dsp:cNvSpPr/>
      </dsp:nvSpPr>
      <dsp:spPr>
        <a:xfrm>
          <a:off x="0" y="4030770"/>
          <a:ext cx="6628804" cy="793800"/>
        </a:xfrm>
        <a:prstGeom prst="rect">
          <a:avLst/>
        </a:prstGeom>
        <a:solidFill>
          <a:schemeClr val="lt1">
            <a:alpha val="90000"/>
            <a:hueOff val="0"/>
            <a:satOff val="0"/>
            <a:lumOff val="0"/>
            <a:alphaOff val="0"/>
          </a:schemeClr>
        </a:solidFill>
        <a:ln w="12700" cap="rnd" cmpd="sng" algn="ctr">
          <a:solidFill>
            <a:schemeClr val="accent2">
              <a:lumMod val="5000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14469" tIns="291592" rIns="514469"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a:t>Renewal timelines and notices</a:t>
          </a:r>
        </a:p>
        <a:p>
          <a:pPr marL="114300" lvl="1" indent="-114300" algn="l" defTabSz="622300">
            <a:lnSpc>
              <a:spcPct val="90000"/>
            </a:lnSpc>
            <a:spcBef>
              <a:spcPct val="0"/>
            </a:spcBef>
            <a:spcAft>
              <a:spcPct val="15000"/>
            </a:spcAft>
            <a:buChar char="•"/>
          </a:pPr>
          <a:r>
            <a:rPr lang="en-US" sz="1400" kern="1200"/>
            <a:t>Passive vs Active renewals</a:t>
          </a:r>
        </a:p>
      </dsp:txBody>
      <dsp:txXfrm>
        <a:off x="0" y="4030770"/>
        <a:ext cx="6628804" cy="793800"/>
      </dsp:txXfrm>
    </dsp:sp>
    <dsp:sp modelId="{B9DEF7FA-BCA6-4FD9-9BED-EBE1FECDB202}">
      <dsp:nvSpPr>
        <dsp:cNvPr id="0" name=""/>
        <dsp:cNvSpPr/>
      </dsp:nvSpPr>
      <dsp:spPr>
        <a:xfrm>
          <a:off x="331440" y="3824130"/>
          <a:ext cx="4640162" cy="413280"/>
        </a:xfrm>
        <a:prstGeom prst="roundRect">
          <a:avLst/>
        </a:prstGeom>
        <a:solidFill>
          <a:schemeClr val="accent2">
            <a:lumMod val="50000"/>
          </a:schemeClr>
        </a:solidFill>
        <a:ln>
          <a:noFill/>
        </a:ln>
        <a:effectLst>
          <a:outerShdw blurRad="38100" dist="254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5387" tIns="0" rIns="175387" bIns="0" numCol="1" spcCol="1270" anchor="ctr" anchorCtr="0">
          <a:noAutofit/>
        </a:bodyPr>
        <a:lstStyle/>
        <a:p>
          <a:pPr marL="0" lvl="0" indent="0" algn="l" defTabSz="622300">
            <a:lnSpc>
              <a:spcPct val="90000"/>
            </a:lnSpc>
            <a:spcBef>
              <a:spcPct val="0"/>
            </a:spcBef>
            <a:spcAft>
              <a:spcPct val="35000"/>
            </a:spcAft>
            <a:buNone/>
          </a:pPr>
          <a:r>
            <a:rPr lang="en-US" sz="1400" kern="1200"/>
            <a:t>APD LTC and ONE Renewals</a:t>
          </a:r>
        </a:p>
      </dsp:txBody>
      <dsp:txXfrm>
        <a:off x="351615" y="3844305"/>
        <a:ext cx="4599812" cy="37293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28CC3B-8B6B-434E-A426-B0F7BA9128B5}" type="datetimeFigureOut">
              <a:rPr lang="en-US" smtClean="0"/>
              <a:t>6/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503FA0-6E23-4368-83EA-9554A4AA3A85}" type="slidenum">
              <a:rPr lang="en-US" smtClean="0"/>
              <a:t>‹#›</a:t>
            </a:fld>
            <a:endParaRPr lang="en-US"/>
          </a:p>
        </p:txBody>
      </p:sp>
    </p:spTree>
    <p:extLst>
      <p:ext uri="{BB962C8B-B14F-4D97-AF65-F5344CB8AC3E}">
        <p14:creationId xmlns:p14="http://schemas.microsoft.com/office/powerpoint/2010/main" val="302051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1</a:t>
            </a:fld>
            <a:endParaRPr lang="en-US"/>
          </a:p>
        </p:txBody>
      </p:sp>
    </p:spTree>
    <p:extLst>
      <p:ext uri="{BB962C8B-B14F-4D97-AF65-F5344CB8AC3E}">
        <p14:creationId xmlns:p14="http://schemas.microsoft.com/office/powerpoint/2010/main" val="688211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2</a:t>
            </a:fld>
            <a:endParaRPr lang="en-US"/>
          </a:p>
        </p:txBody>
      </p:sp>
    </p:spTree>
    <p:extLst>
      <p:ext uri="{BB962C8B-B14F-4D97-AF65-F5344CB8AC3E}">
        <p14:creationId xmlns:p14="http://schemas.microsoft.com/office/powerpoint/2010/main" val="23434923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3</a:t>
            </a:fld>
            <a:endParaRPr lang="en-US"/>
          </a:p>
        </p:txBody>
      </p:sp>
    </p:spTree>
    <p:extLst>
      <p:ext uri="{BB962C8B-B14F-4D97-AF65-F5344CB8AC3E}">
        <p14:creationId xmlns:p14="http://schemas.microsoft.com/office/powerpoint/2010/main" val="3896780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4</a:t>
            </a:fld>
            <a:endParaRPr lang="en-US"/>
          </a:p>
        </p:txBody>
      </p:sp>
    </p:spTree>
    <p:extLst>
      <p:ext uri="{BB962C8B-B14F-4D97-AF65-F5344CB8AC3E}">
        <p14:creationId xmlns:p14="http://schemas.microsoft.com/office/powerpoint/2010/main" val="3232951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1)  If the case is in an Active Approved status and an SELG update is received, ONE should automatically re-evaluate eligibility as part of a nightly batch process</a:t>
            </a:r>
          </a:p>
          <a:p>
            <a:pPr marL="285750" indent="-285750">
              <a:buFont typeface="Arial"/>
              <a:buChar char="•"/>
            </a:pPr>
            <a:r>
              <a:rPr lang="en-US"/>
              <a:t>2)  If the case is not in an Active/Approved status when the SELG update is received, a task will be generated advising EWs that eligibility should be re-evaluated. </a:t>
            </a:r>
            <a:endParaRPr lang="en-US">
              <a:cs typeface="Calibri"/>
            </a:endParaRPr>
          </a:p>
          <a:p>
            <a:pPr marL="285750" indent="-285750">
              <a:buFont typeface="Arial"/>
              <a:buChar char="•"/>
            </a:pPr>
            <a:r>
              <a:rPr lang="en-US"/>
              <a:t>3) If there is an urgent client or payment issue, CMs may want to reach out to an EW to have eligibility in ONE re-evaluated ASAP.</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FA503FA0-6E23-4368-83EA-9554A4AA3A85}" type="slidenum">
              <a:rPr lang="en-US" smtClean="0"/>
              <a:t>7</a:t>
            </a:fld>
            <a:endParaRPr lang="en-US"/>
          </a:p>
        </p:txBody>
      </p:sp>
    </p:spTree>
    <p:extLst>
      <p:ext uri="{BB962C8B-B14F-4D97-AF65-F5344CB8AC3E}">
        <p14:creationId xmlns:p14="http://schemas.microsoft.com/office/powerpoint/2010/main" val="2424932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buFont typeface="Arial,Sans-Serif" panose="020B0604020202020204" pitchFamily="34" charset="0"/>
              <a:buChar char="•"/>
            </a:pPr>
            <a:r>
              <a:rPr lang="en-US">
                <a:solidFill>
                  <a:srgbClr val="000000"/>
                </a:solidFill>
                <a:latin typeface="+mn-lt"/>
                <a:cs typeface="Calibri"/>
              </a:rPr>
              <a:t>When both spouses are applying, they each must be requesting on their own case, and a household member on each other's cases</a:t>
            </a:r>
            <a:endParaRPr lang="en-US" sz="1800" b="0" i="0">
              <a:solidFill>
                <a:srgbClr val="000000"/>
              </a:solidFill>
              <a:effectLst/>
              <a:latin typeface="+mn-lt"/>
              <a:ea typeface="+mn-lt"/>
              <a:cs typeface="Calibri"/>
            </a:endParaRPr>
          </a:p>
          <a:p>
            <a:pPr lvl="1">
              <a:buFont typeface="Arial,Sans-Serif" panose="020B0604020202020204" pitchFamily="34" charset="0"/>
              <a:buChar char="•"/>
            </a:pPr>
            <a:r>
              <a:rPr lang="en-US">
                <a:solidFill>
                  <a:srgbClr val="000000"/>
                </a:solidFill>
                <a:latin typeface="+mn-lt"/>
                <a:cs typeface="Calibri"/>
              </a:rPr>
              <a:t>For example, Case 1 has Spouse 1 as applying, Spouse 2 as not applying. Case 2 has Spouse 2 as applying, and Spouse 1 as not applying</a:t>
            </a:r>
          </a:p>
          <a:p>
            <a:pPr lvl="1">
              <a:buFont typeface="Arial,Sans-Serif" panose="020B0604020202020204" pitchFamily="34" charset="0"/>
              <a:buChar char="•"/>
            </a:pPr>
            <a:r>
              <a:rPr lang="en-US">
                <a:solidFill>
                  <a:srgbClr val="000000"/>
                </a:solidFill>
                <a:latin typeface="+mn-lt"/>
                <a:cs typeface="Calibri"/>
              </a:rPr>
              <a:t>Current issue with CSIA in these scenarios, follow the below IBP</a:t>
            </a:r>
          </a:p>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8</a:t>
            </a:fld>
            <a:endParaRPr lang="en-US"/>
          </a:p>
        </p:txBody>
      </p:sp>
    </p:spTree>
    <p:extLst>
      <p:ext uri="{BB962C8B-B14F-4D97-AF65-F5344CB8AC3E}">
        <p14:creationId xmlns:p14="http://schemas.microsoft.com/office/powerpoint/2010/main" val="10110042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emo:</a:t>
            </a:r>
          </a:p>
          <a:p>
            <a:pPr rtl="0" fontAlgn="base"/>
            <a:r>
              <a:rPr lang="en-US" sz="1200" b="0" i="0" kern="1200">
                <a:solidFill>
                  <a:schemeClr val="tx1"/>
                </a:solidFill>
                <a:effectLst/>
                <a:latin typeface="+mn-lt"/>
                <a:ea typeface="+mn-ea"/>
                <a:cs typeface="+mn-cs"/>
              </a:rPr>
              <a:t>- Service eligibility  </a:t>
            </a:r>
          </a:p>
          <a:p>
            <a:pPr rtl="0" fontAlgn="base"/>
            <a:r>
              <a:rPr lang="en-US" sz="1200" b="0" i="0" kern="1200">
                <a:solidFill>
                  <a:schemeClr val="tx1"/>
                </a:solidFill>
                <a:effectLst/>
                <a:latin typeface="+mn-lt"/>
                <a:ea typeface="+mn-ea"/>
                <a:cs typeface="+mn-cs"/>
              </a:rPr>
              <a:t>- Notice reasons, financial summary, patient liability  </a:t>
            </a:r>
          </a:p>
          <a:p>
            <a:pPr rtl="0" fontAlgn="base"/>
            <a:r>
              <a:rPr lang="en-US" sz="1200" b="0" i="0" kern="1200">
                <a:solidFill>
                  <a:schemeClr val="tx1"/>
                </a:solidFill>
                <a:effectLst/>
                <a:latin typeface="+mn-lt"/>
                <a:ea typeface="+mn-ea"/>
                <a:cs typeface="+mn-cs"/>
              </a:rPr>
              <a:t>- Payment status/issued </a:t>
            </a:r>
          </a:p>
          <a:p>
            <a:pPr rtl="0" fontAlgn="base"/>
            <a:r>
              <a:rPr lang="en-US" sz="1200" b="0" i="0" kern="1200">
                <a:solidFill>
                  <a:schemeClr val="tx1"/>
                </a:solidFill>
                <a:effectLst/>
                <a:latin typeface="+mn-lt"/>
                <a:ea typeface="+mn-ea"/>
                <a:cs typeface="+mn-cs"/>
              </a:rPr>
              <a:t>- Electronic Case File </a:t>
            </a:r>
          </a:p>
          <a:p>
            <a:pPr rtl="0" fontAlgn="base"/>
            <a:r>
              <a:rPr lang="en-US" sz="1200" b="0" i="0" kern="1200">
                <a:solidFill>
                  <a:schemeClr val="tx1"/>
                </a:solidFill>
                <a:effectLst/>
                <a:latin typeface="+mn-lt"/>
                <a:ea typeface="+mn-ea"/>
                <a:cs typeface="+mn-cs"/>
              </a:rPr>
              <a:t>- Notices sent </a:t>
            </a:r>
          </a:p>
          <a:p>
            <a:endParaRPr lang="en-US"/>
          </a:p>
        </p:txBody>
      </p:sp>
      <p:sp>
        <p:nvSpPr>
          <p:cNvPr id="4" name="Slide Number Placeholder 3"/>
          <p:cNvSpPr>
            <a:spLocks noGrp="1"/>
          </p:cNvSpPr>
          <p:nvPr>
            <p:ph type="sldNum" sz="quarter" idx="5"/>
          </p:nvPr>
        </p:nvSpPr>
        <p:spPr/>
        <p:txBody>
          <a:bodyPr/>
          <a:lstStyle/>
          <a:p>
            <a:fld id="{FA503FA0-6E23-4368-83EA-9554A4AA3A85}" type="slidenum">
              <a:rPr lang="en-US" smtClean="0"/>
              <a:t>15</a:t>
            </a:fld>
            <a:endParaRPr lang="en-US"/>
          </a:p>
        </p:txBody>
      </p:sp>
    </p:spTree>
    <p:extLst>
      <p:ext uri="{BB962C8B-B14F-4D97-AF65-F5344CB8AC3E}">
        <p14:creationId xmlns:p14="http://schemas.microsoft.com/office/powerpoint/2010/main" val="3343140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6171941" cy="842400"/>
          </a:xfrm>
        </p:spPr>
        <p:txBody>
          <a:bodyPr lIns="0" tIns="0" rIns="0" bIns="0" anchor="b">
            <a:noAutofit/>
          </a:bodyPr>
          <a:lstStyle>
            <a:lvl1pPr>
              <a:defRPr sz="28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487680" y="2778756"/>
            <a:ext cx="61728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1"/>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86833" y="217365"/>
            <a:ext cx="1727200" cy="7998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5">
            <a:extLst>
              <a:ext uri="{FF2B5EF4-FFF2-40B4-BE49-F238E27FC236}">
                <a16:creationId xmlns:a16="http://schemas.microsoft.com/office/drawing/2014/main" id="{FB31E87C-15A5-4FA0-9A5C-313A629924BF}"/>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8494826" y="310608"/>
            <a:ext cx="3175151" cy="5356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4071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391665"/>
            <a:ext cx="11106912" cy="387798"/>
          </a:xfrm>
          <a:prstGeom prst="rect">
            <a:avLst/>
          </a:prstGeom>
        </p:spPr>
        <p:txBody>
          <a:bodyPr lIns="0" tIns="0" rIns="0" bIns="0" anchor="b" anchorCtr="0">
            <a:spAutoFit/>
          </a:bodyPr>
          <a:lstStyle>
            <a:lvl1pPr>
              <a:defRPr>
                <a:solidFill>
                  <a:schemeClr val="accent3"/>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p>
        </p:txBody>
      </p:sp>
    </p:spTree>
    <p:custDataLst>
      <p:tags r:id="rId1"/>
    </p:custDataLst>
    <p:extLst>
      <p:ext uri="{BB962C8B-B14F-4D97-AF65-F5344CB8AC3E}">
        <p14:creationId xmlns:p14="http://schemas.microsoft.com/office/powerpoint/2010/main" val="395994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7F0482F-0084-4A7C-8DC5-A7817041F2F9}"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D5A99B1-28FB-4CB5-92D3-5D2F83AA962C}" type="slidenum">
              <a:rPr lang="en-US" smtClean="0"/>
              <a:t>‹#›</a:t>
            </a:fld>
            <a:endParaRPr lang="en-US"/>
          </a:p>
        </p:txBody>
      </p:sp>
    </p:spTree>
    <p:extLst>
      <p:ext uri="{BB962C8B-B14F-4D97-AF65-F5344CB8AC3E}">
        <p14:creationId xmlns:p14="http://schemas.microsoft.com/office/powerpoint/2010/main" val="40530144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94198" y="651602"/>
            <a:ext cx="11201795" cy="757255"/>
          </a:xfrm>
          <a:prstGeom prst="rect">
            <a:avLst/>
          </a:prstGeom>
        </p:spPr>
        <p:txBody>
          <a:bodyPr lIns="0" tIns="0" rIns="0" bIns="0">
            <a:noAutofit/>
          </a:bodyPr>
          <a:lstStyle>
            <a:lvl1pPr marL="0" indent="0">
              <a:buNone/>
              <a:defRPr sz="1814"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494198" y="317505"/>
            <a:ext cx="11201795" cy="334097"/>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494198" y="1700214"/>
            <a:ext cx="11201795" cy="4678985"/>
          </a:xfrm>
          <a:prstGeom prst="rect">
            <a:avLst/>
          </a:prstGeom>
        </p:spPr>
        <p:txBody>
          <a:bodyPr vert="horz" lIns="0" tIns="0" rIns="0" bIns="0" rtlCol="0">
            <a:noAutofit/>
          </a:bodyPr>
          <a:lstStyle>
            <a:lvl1pPr marL="0" indent="0" algn="l">
              <a:buFontTx/>
              <a:buNone/>
              <a:defRPr sz="1572"/>
            </a:lvl1pPr>
            <a:lvl2pPr marL="176624" indent="-176624" algn="l">
              <a:buClrTx/>
              <a:buSzPct val="100000"/>
              <a:buFont typeface="Arial" panose="020B0604020202020204" pitchFamily="34" charset="0"/>
              <a:buChar char="•"/>
              <a:defRPr sz="1572"/>
            </a:lvl2pPr>
            <a:lvl3pPr marL="376290" indent="-176624" algn="l">
              <a:buClrTx/>
              <a:buSzPct val="100000"/>
              <a:buFont typeface="Arial" panose="020B0604020202020204" pitchFamily="34" charset="0"/>
              <a:buChar char="−"/>
              <a:defRPr sz="1572"/>
            </a:lvl3pPr>
            <a:lvl4pPr marL="575957" indent="-176624" algn="l">
              <a:buClrTx/>
              <a:buSzPct val="100000"/>
              <a:buFont typeface="Arial" panose="020B0604020202020204" pitchFamily="34" charset="0"/>
              <a:buChar char="◦"/>
              <a:defRPr sz="1572"/>
            </a:lvl4pPr>
            <a:lvl5pPr marL="775623" indent="-176624" algn="l">
              <a:buClrTx/>
              <a:buSzPct val="100000"/>
              <a:buFont typeface="Arial" panose="020B0604020202020204" pitchFamily="34" charset="0"/>
              <a:buChar char="−"/>
              <a:defRPr sz="1572"/>
            </a:lvl5pPr>
            <a:lvl6pPr>
              <a:defRPr sz="1572"/>
            </a:lvl6pPr>
            <a:lvl7pPr>
              <a:defRPr sz="1572"/>
            </a:lvl7pPr>
            <a:lvl8pPr>
              <a:defRPr sz="1572"/>
            </a:lvl8pPr>
            <a:lvl9pPr>
              <a:defRPr sz="1572"/>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2118447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55D56-5440-43EF-A277-40788D4608C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4851888-0A1B-4D3D-8B5D-014BB325C94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C143A5A-12B8-4CB0-8ECC-AE6DE900BA97}"/>
              </a:ext>
            </a:extLst>
          </p:cNvPr>
          <p:cNvSpPr>
            <a:spLocks noGrp="1"/>
          </p:cNvSpPr>
          <p:nvPr>
            <p:ph type="dt" sz="half" idx="10"/>
          </p:nvPr>
        </p:nvSpPr>
        <p:spPr/>
        <p:txBody>
          <a:bodyPr/>
          <a:lstStyle/>
          <a:p>
            <a:fld id="{D5F1497A-30D6-4DE4-A82D-F54E389E14ED}" type="datetimeFigureOut">
              <a:rPr lang="en-US" smtClean="0"/>
              <a:t>6/10/2021</a:t>
            </a:fld>
            <a:endParaRPr lang="en-US"/>
          </a:p>
        </p:txBody>
      </p:sp>
      <p:sp>
        <p:nvSpPr>
          <p:cNvPr id="5" name="Footer Placeholder 4">
            <a:extLst>
              <a:ext uri="{FF2B5EF4-FFF2-40B4-BE49-F238E27FC236}">
                <a16:creationId xmlns:a16="http://schemas.microsoft.com/office/drawing/2014/main" id="{8284250B-8A09-46E7-B774-12FF422979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20A554-A2D1-4D41-B647-B9FAAAEC82F2}"/>
              </a:ext>
            </a:extLst>
          </p:cNvPr>
          <p:cNvSpPr>
            <a:spLocks noGrp="1"/>
          </p:cNvSpPr>
          <p:nvPr>
            <p:ph type="sldNum" sz="quarter" idx="12"/>
          </p:nvPr>
        </p:nvSpPr>
        <p:spPr/>
        <p:txBody>
          <a:bodyPr/>
          <a:lstStyle/>
          <a:p>
            <a:fld id="{6CDC3D0E-8B20-497F-B14B-63A2CE5C6422}" type="slidenum">
              <a:rPr lang="en-US" smtClean="0"/>
              <a:t>‹#›</a:t>
            </a:fld>
            <a:endParaRPr lang="en-US"/>
          </a:p>
        </p:txBody>
      </p:sp>
    </p:spTree>
    <p:extLst>
      <p:ext uri="{BB962C8B-B14F-4D97-AF65-F5344CB8AC3E}">
        <p14:creationId xmlns:p14="http://schemas.microsoft.com/office/powerpoint/2010/main" val="8385779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pic>
        <p:nvPicPr>
          <p:cNvPr id="3" name="Picture 2" descr="A picture containing grass, outdoor, sitting, large&#10;&#10;Description automatically generated">
            <a:extLst>
              <a:ext uri="{FF2B5EF4-FFF2-40B4-BE49-F238E27FC236}">
                <a16:creationId xmlns:a16="http://schemas.microsoft.com/office/drawing/2014/main" id="{AA8B9C4A-C897-426D-940C-E6814B3E8857}"/>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artisticBlur/>
                    </a14:imgEffect>
                  </a14:imgLayer>
                </a14:imgProps>
              </a:ext>
              <a:ext uri="{28A0092B-C50C-407E-A947-70E740481C1C}">
                <a14:useLocalDpi xmlns:a14="http://schemas.microsoft.com/office/drawing/2010/main" val="0"/>
              </a:ext>
            </a:extLst>
          </a:blip>
          <a:srcRect/>
          <a:stretch/>
        </p:blipFill>
        <p:spPr>
          <a:xfrm>
            <a:off x="6847643" y="0"/>
            <a:ext cx="5344357" cy="6858000"/>
          </a:xfrm>
          <a:prstGeom prst="rect">
            <a:avLst/>
          </a:prstGeom>
        </p:spPr>
      </p:pic>
      <p:sp>
        <p:nvSpPr>
          <p:cNvPr id="2" name="Rectangle 1">
            <a:extLst>
              <a:ext uri="{FF2B5EF4-FFF2-40B4-BE49-F238E27FC236}">
                <a16:creationId xmlns:a16="http://schemas.microsoft.com/office/drawing/2014/main" id="{72474B0C-D5AA-4135-AF05-19E97B49E522}"/>
              </a:ext>
            </a:extLst>
          </p:cNvPr>
          <p:cNvSpPr/>
          <p:nvPr userDrawn="1"/>
        </p:nvSpPr>
        <p:spPr>
          <a:xfrm>
            <a:off x="6847642" y="0"/>
            <a:ext cx="5344357" cy="6858000"/>
          </a:xfrm>
          <a:prstGeom prst="rect">
            <a:avLst/>
          </a:prstGeom>
          <a:solidFill>
            <a:schemeClr val="bg2">
              <a:lumMod val="75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B79CC2E5-7770-47AE-AFC2-0477CAEDD2AB}"/>
              </a:ext>
            </a:extLst>
          </p:cNvPr>
          <p:cNvSpPr/>
          <p:nvPr userDrawn="1"/>
        </p:nvSpPr>
        <p:spPr>
          <a:xfrm>
            <a:off x="-1" y="0"/>
            <a:ext cx="6847643" cy="6858000"/>
          </a:xfrm>
          <a:prstGeom prst="rect">
            <a:avLst/>
          </a:prstGeom>
          <a:solidFill>
            <a:srgbClr val="002D73"/>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BE0A6F1A-31DA-4B3E-A471-95DA29728889}"/>
              </a:ext>
            </a:extLst>
          </p:cNvPr>
          <p:cNvSpPr/>
          <p:nvPr userDrawn="1"/>
        </p:nvSpPr>
        <p:spPr>
          <a:xfrm>
            <a:off x="8131946" y="1168961"/>
            <a:ext cx="3417903" cy="4805708"/>
          </a:xfrm>
          <a:prstGeom prst="rect">
            <a:avLst/>
          </a:prstGeom>
          <a:noFill/>
          <a:ln w="228600">
            <a:solidFill>
              <a:schemeClr val="bg1">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4" descr="Oregon Health Authority : Apply or renew your OHP online with ONE : Oregon  Health Plan : State of Oregon">
            <a:extLst>
              <a:ext uri="{FF2B5EF4-FFF2-40B4-BE49-F238E27FC236}">
                <a16:creationId xmlns:a16="http://schemas.microsoft.com/office/drawing/2014/main" id="{394D3746-CF5E-45EC-BE45-F1F550717D2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904912" y="90267"/>
            <a:ext cx="3193026" cy="558780"/>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2C7346E4-E8EB-43DB-B78E-6B4F1910A1FE}"/>
              </a:ext>
            </a:extLst>
          </p:cNvPr>
          <p:cNvSpPr>
            <a:spLocks noGrp="1"/>
          </p:cNvSpPr>
          <p:nvPr>
            <p:ph type="body" sz="quarter" idx="10"/>
          </p:nvPr>
        </p:nvSpPr>
        <p:spPr>
          <a:xfrm>
            <a:off x="2940885" y="2339424"/>
            <a:ext cx="8240260" cy="1539875"/>
          </a:xfrm>
        </p:spPr>
        <p:txBody>
          <a:bodyPr/>
          <a:lstStyle>
            <a:lvl1pPr marL="0" indent="0">
              <a:buNone/>
              <a:defRPr kumimoji="0" lang="en-US" sz="7200" b="1" i="0" u="none" strike="noStrike" kern="1200" cap="none" spc="0" normalizeH="0" baseline="0" dirty="0" smtClean="0">
                <a:ln>
                  <a:noFill/>
                </a:ln>
                <a:solidFill>
                  <a:schemeClr val="bg1"/>
                </a:solidFill>
                <a:effectLst/>
                <a:uLnTx/>
                <a:uFillTx/>
                <a:latin typeface="Open Sans"/>
                <a:ea typeface="Chronicle Display Black" charset="0"/>
                <a:cs typeface="Chronicle Display Black" charset="0"/>
              </a:defRPr>
            </a:lvl1pPr>
            <a:lvl2pPr marL="457200" indent="0">
              <a:buNone/>
              <a:defRPr sz="7200"/>
            </a:lvl2pPr>
            <a:lvl3pPr>
              <a:defRPr sz="7200"/>
            </a:lvl3pPr>
            <a:lvl4pPr>
              <a:defRPr sz="7200"/>
            </a:lvl4pPr>
            <a:lvl5pPr>
              <a:defRPr sz="7200"/>
            </a:lvl5pPr>
          </a:lstStyle>
          <a:p>
            <a:pPr lvl="0"/>
            <a:r>
              <a:rPr lang="en-US"/>
              <a:t>Click to edit Master text styles</a:t>
            </a:r>
          </a:p>
        </p:txBody>
      </p:sp>
    </p:spTree>
    <p:extLst>
      <p:ext uri="{BB962C8B-B14F-4D97-AF65-F5344CB8AC3E}">
        <p14:creationId xmlns:p14="http://schemas.microsoft.com/office/powerpoint/2010/main" val="1401273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487680" y="1897603"/>
            <a:ext cx="6171941" cy="842400"/>
          </a:xfrm>
        </p:spPr>
        <p:txBody>
          <a:bodyPr lIns="0" tIns="0" rIns="0" bIns="0" anchor="b">
            <a:noAutofit/>
          </a:bodyPr>
          <a:lstStyle>
            <a:lvl1pPr>
              <a:defRPr sz="28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487680" y="2778756"/>
            <a:ext cx="6172800" cy="1371600"/>
          </a:xfrm>
        </p:spPr>
        <p:txBody>
          <a:bodyPr>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4098" name="Picture 2" descr="Lawyers Representing Oregon Foster Children Sue DHS | KLCC">
            <a:extLst>
              <a:ext uri="{FF2B5EF4-FFF2-40B4-BE49-F238E27FC236}">
                <a16:creationId xmlns:a16="http://schemas.microsoft.com/office/drawing/2014/main" id="{C6104603-C8CE-4266-ACB0-7518EBC8C0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27241" y="295522"/>
            <a:ext cx="1575450" cy="8416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Oregon Health Authority : Oregon Health Authority : State of Oregon">
            <a:extLst>
              <a:ext uri="{FF2B5EF4-FFF2-40B4-BE49-F238E27FC236}">
                <a16:creationId xmlns:a16="http://schemas.microsoft.com/office/drawing/2014/main" id="{D60716E6-E5DF-4015-937D-AA744C84A2A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072540" y="379522"/>
            <a:ext cx="1619250" cy="673608"/>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Oregon Health Authority : Apply or renew your OHP online with ONE : Oregon  Health Plan : State of Oregon">
            <a:extLst>
              <a:ext uri="{FF2B5EF4-FFF2-40B4-BE49-F238E27FC236}">
                <a16:creationId xmlns:a16="http://schemas.microsoft.com/office/drawing/2014/main" id="{AD31F434-C3D3-4C18-B61A-2AC40B13639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22947" y="436936"/>
            <a:ext cx="3193026" cy="5587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3919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966363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28508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548639" y="1399032"/>
            <a:ext cx="11106912"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552451" y="779464"/>
            <a:ext cx="11106912"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552451" y="391665"/>
            <a:ext cx="11106912" cy="387798"/>
          </a:xfrm>
          <a:prstGeom prst="rect">
            <a:avLst/>
          </a:prstGeom>
        </p:spPr>
        <p:txBody>
          <a:bodyPr lIns="0" tIns="0" rIns="0" bIns="0" anchor="b" anchorCtr="0">
            <a:spAutoFit/>
          </a:bodyPr>
          <a:lstStyle>
            <a:lvl1pPr>
              <a:defRPr>
                <a:solidFill>
                  <a:schemeClr val="accent3"/>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p>
        </p:txBody>
      </p:sp>
    </p:spTree>
    <p:custDataLst>
      <p:tags r:id="rId1"/>
    </p:custDataLst>
    <p:extLst>
      <p:ext uri="{BB962C8B-B14F-4D97-AF65-F5344CB8AC3E}">
        <p14:creationId xmlns:p14="http://schemas.microsoft.com/office/powerpoint/2010/main" val="2885133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8072908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87680" y="1611313"/>
            <a:ext cx="11216640" cy="47342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37699666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780290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6432304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3D10371-74CE-4DBF-B69A-53760EFAFC1F}" type="datetimeFigureOut">
              <a:rPr lang="en-US" smtClean="0"/>
              <a:t>6/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4092407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3D10371-74CE-4DBF-B69A-53760EFAFC1F}" type="datetimeFigureOut">
              <a:rPr lang="en-US" smtClean="0"/>
              <a:t>6/1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981976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3D10371-74CE-4DBF-B69A-53760EFAFC1F}" type="datetimeFigureOut">
              <a:rPr lang="en-US" smtClean="0"/>
              <a:t>6/1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4240948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D10371-74CE-4DBF-B69A-53760EFAFC1F}" type="datetimeFigureOut">
              <a:rPr lang="en-US" smtClean="0"/>
              <a:t>6/1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3768943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D10371-74CE-4DBF-B69A-53760EFAFC1F}" type="datetimeFigureOut">
              <a:rPr lang="en-US" smtClean="0"/>
              <a:t>6/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076813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3D10371-74CE-4DBF-B69A-53760EFAFC1F}" type="datetimeFigureOut">
              <a:rPr lang="en-US" smtClean="0"/>
              <a:t>6/1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9620887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0071171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latin typeface="Arial"/>
              </a:rPr>
              <a:t>”</a:t>
            </a:r>
            <a:endParaRPr lang="en-US">
              <a:solidFill>
                <a:schemeClr val="accent1">
                  <a:lumMod val="60000"/>
                  <a:lumOff val="40000"/>
                </a:schemeClr>
              </a:solidFill>
              <a:latin typeface="Arial"/>
            </a:endParaRPr>
          </a:p>
        </p:txBody>
      </p:sp>
    </p:spTree>
    <p:extLst>
      <p:ext uri="{BB962C8B-B14F-4D97-AF65-F5344CB8AC3E}">
        <p14:creationId xmlns:p14="http://schemas.microsoft.com/office/powerpoint/2010/main" val="3654724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accent3"/>
                </a:solidFill>
              </a:defRPr>
            </a:lvl1pPr>
          </a:lstStyle>
          <a:p>
            <a:r>
              <a:rPr lang="en-US"/>
              <a:t>Click to edit Master title style</a:t>
            </a:r>
          </a:p>
        </p:txBody>
      </p:sp>
    </p:spTree>
    <p:extLst>
      <p:ext uri="{BB962C8B-B14F-4D97-AF65-F5344CB8AC3E}">
        <p14:creationId xmlns:p14="http://schemas.microsoft.com/office/powerpoint/2010/main" val="37441782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9567280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42416379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14818300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3713671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3D10371-74CE-4DBF-B69A-53760EFAFC1F}" type="datetimeFigureOut">
              <a:rPr lang="en-US" smtClean="0"/>
              <a:t>6/1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24D82B-1252-45EC-8B21-B20462CE42E6}" type="slidenum">
              <a:rPr lang="en-US" smtClean="0"/>
              <a:t>‹#›</a:t>
            </a:fld>
            <a:endParaRPr lang="en-US"/>
          </a:p>
        </p:txBody>
      </p:sp>
    </p:spTree>
    <p:extLst>
      <p:ext uri="{BB962C8B-B14F-4D97-AF65-F5344CB8AC3E}">
        <p14:creationId xmlns:p14="http://schemas.microsoft.com/office/powerpoint/2010/main" val="2230415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3" name="Text Placeholder 2"/>
          <p:cNvSpPr>
            <a:spLocks noGrp="1"/>
          </p:cNvSpPr>
          <p:nvPr>
            <p:ph type="body" sz="quarter" idx="14"/>
          </p:nvPr>
        </p:nvSpPr>
        <p:spPr>
          <a:xfrm>
            <a:off x="487680" y="1611313"/>
            <a:ext cx="1121664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8068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Tree>
    <p:extLst>
      <p:ext uri="{BB962C8B-B14F-4D97-AF65-F5344CB8AC3E}">
        <p14:creationId xmlns:p14="http://schemas.microsoft.com/office/powerpoint/2010/main" val="4545030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87680" y="295683"/>
            <a:ext cx="7193280" cy="1243584"/>
          </a:xfrm>
          <a:prstGeom prst="rect">
            <a:avLst/>
          </a:prstGeom>
        </p:spPr>
        <p:txBody>
          <a:bodyPr vert="horz" lIns="0" tIns="0" rIns="0" bIns="0" rtlCol="0" anchor="t" anchorCtr="0">
            <a:noAutofit/>
          </a:bodyPr>
          <a:lstStyle>
            <a:lvl1pPr>
              <a:defRPr>
                <a:solidFill>
                  <a:schemeClr val="accent3"/>
                </a:solidFill>
              </a:defRPr>
            </a:lvl1pPr>
          </a:lstStyle>
          <a:p>
            <a:r>
              <a:rPr lang="en-US"/>
              <a:t>Click to edit Master title style</a:t>
            </a:r>
          </a:p>
        </p:txBody>
      </p:sp>
      <p:sp>
        <p:nvSpPr>
          <p:cNvPr id="4" name="Content Placeholder 3"/>
          <p:cNvSpPr>
            <a:spLocks noGrp="1"/>
          </p:cNvSpPr>
          <p:nvPr>
            <p:ph sz="quarter" idx="10"/>
          </p:nvPr>
        </p:nvSpPr>
        <p:spPr>
          <a:xfrm>
            <a:off x="487680" y="1611313"/>
            <a:ext cx="7193280" cy="4735487"/>
          </a:xfr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5190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9" name="Text Placeholder 8"/>
          <p:cNvSpPr>
            <a:spLocks noGrp="1"/>
          </p:cNvSpPr>
          <p:nvPr>
            <p:ph type="body" sz="quarter" idx="13" hasCustomPrompt="1"/>
          </p:nvPr>
        </p:nvSpPr>
        <p:spPr>
          <a:xfrm>
            <a:off x="487680" y="782621"/>
            <a:ext cx="1121664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3" name="Content Placeholder 2"/>
          <p:cNvSpPr>
            <a:spLocks noGrp="1"/>
          </p:cNvSpPr>
          <p:nvPr>
            <p:ph sz="quarter" idx="16"/>
          </p:nvPr>
        </p:nvSpPr>
        <p:spPr>
          <a:xfrm>
            <a:off x="48768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7"/>
          </p:nvPr>
        </p:nvSpPr>
        <p:spPr>
          <a:xfrm>
            <a:off x="6217920" y="1611313"/>
            <a:ext cx="5486400" cy="4735487"/>
          </a:xfrm>
        </p:spPr>
        <p:txBody>
          <a:bodyPr/>
          <a:lstStyle>
            <a:lvl4pPr>
              <a:defRPr/>
            </a:lvl4pPr>
            <a:lvl5pPr>
              <a:defRPr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95127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1 column text with image">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548640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17" name="Text Placeholder 8"/>
          <p:cNvSpPr>
            <a:spLocks noGrp="1"/>
          </p:cNvSpPr>
          <p:nvPr>
            <p:ph type="body" sz="quarter" idx="13" hasCustomPrompt="1"/>
          </p:nvPr>
        </p:nvSpPr>
        <p:spPr>
          <a:xfrm>
            <a:off x="487680" y="782621"/>
            <a:ext cx="548640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0023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87680" y="295683"/>
            <a:ext cx="11216640" cy="469492"/>
          </a:xfrm>
          <a:prstGeom prst="rect">
            <a:avLst/>
          </a:prstGeom>
        </p:spPr>
        <p:txBody>
          <a:bodyPr vert="horz" lIns="0" tIns="0" rIns="0" bIns="0" rtlCol="0" anchor="t" anchorCtr="0">
            <a:noAutofit/>
          </a:bodyPr>
          <a:lstStyle>
            <a:lvl1pPr>
              <a:defRPr>
                <a:solidFill>
                  <a:schemeClr val="accent3"/>
                </a:solidFill>
              </a:defRPr>
            </a:lvl1pPr>
          </a:lstStyle>
          <a:p>
            <a:r>
              <a:rPr lang="en-US"/>
              <a:t>Click to add title</a:t>
            </a:r>
          </a:p>
        </p:txBody>
      </p:sp>
      <p:sp>
        <p:nvSpPr>
          <p:cNvPr id="17" name="Text Placeholder 8"/>
          <p:cNvSpPr>
            <a:spLocks noGrp="1"/>
          </p:cNvSpPr>
          <p:nvPr>
            <p:ph type="body" sz="quarter" idx="13" hasCustomPrompt="1"/>
          </p:nvPr>
        </p:nvSpPr>
        <p:spPr>
          <a:xfrm>
            <a:off x="487680" y="782621"/>
            <a:ext cx="11216640" cy="766749"/>
          </a:xfrm>
        </p:spPr>
        <p:txBody>
          <a:bodyPr>
            <a:noAutofit/>
          </a:bodyPr>
          <a:lstStyle>
            <a:lvl1pPr marL="0" indent="0">
              <a:buNone/>
              <a:defRPr sz="2000" b="0">
                <a:solidFill>
                  <a:srgbClr val="575757"/>
                </a:solidFill>
              </a:defRPr>
            </a:lvl1pPr>
          </a:lstStyle>
          <a:p>
            <a:pPr lvl="0"/>
            <a:r>
              <a:rPr lang="en-US"/>
              <a:t>Click to add subtitle</a:t>
            </a:r>
          </a:p>
        </p:txBody>
      </p:sp>
      <p:sp>
        <p:nvSpPr>
          <p:cNvPr id="4" name="Text Placeholder 3"/>
          <p:cNvSpPr>
            <a:spLocks noGrp="1"/>
          </p:cNvSpPr>
          <p:nvPr>
            <p:ph type="body" sz="quarter" idx="14"/>
          </p:nvPr>
        </p:nvSpPr>
        <p:spPr>
          <a:xfrm>
            <a:off x="487680" y="1611313"/>
            <a:ext cx="5486400" cy="4733788"/>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278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tags" Target="../tags/tag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vmlDrawing" Target="../drawings/vmlDrawing2.vml"/><Relationship Id="rId5" Type="http://schemas.openxmlformats.org/officeDocument/2006/relationships/theme" Target="../theme/theme2.xml"/><Relationship Id="rId10" Type="http://schemas.openxmlformats.org/officeDocument/2006/relationships/image" Target="../media/image5.png"/><Relationship Id="rId4" Type="http://schemas.openxmlformats.org/officeDocument/2006/relationships/slideLayout" Target="../slideLayouts/slideLayout1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3.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87680" y="295683"/>
            <a:ext cx="11216640" cy="1244192"/>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487680" y="1611313"/>
            <a:ext cx="11216640" cy="4734292"/>
          </a:xfrm>
          <a:prstGeom prst="rect">
            <a:avLst/>
          </a:prstGeom>
        </p:spPr>
        <p:txBody>
          <a:bodyPr vert="horz" lIns="0" tIns="0" rIns="0" bIns="0" rtlCol="0">
            <a:noAutofit/>
          </a:bodyPr>
          <a:lstStyle/>
          <a:p>
            <a:pPr lvl="0"/>
            <a:r>
              <a:rPr lang="en-US"/>
              <a:t>Click to edit Master text styles</a:t>
            </a:r>
          </a:p>
          <a:p>
            <a:pPr lvl="1"/>
            <a:r>
              <a:rPr lang="en-US"/>
              <a:t>Bullet level 1</a:t>
            </a:r>
          </a:p>
          <a:p>
            <a:pPr lvl="2"/>
            <a:r>
              <a:rPr lang="en-US"/>
              <a:t>Bullet level 2</a:t>
            </a:r>
          </a:p>
          <a:p>
            <a:pPr lvl="3"/>
            <a:r>
              <a:rPr lang="en-US"/>
              <a:t>Bullet level 3</a:t>
            </a:r>
          </a:p>
          <a:p>
            <a:pPr lvl="4"/>
            <a:r>
              <a:rPr lang="en-US"/>
              <a:t>Bullet level 4</a:t>
            </a:r>
          </a:p>
        </p:txBody>
      </p:sp>
      <p:sp>
        <p:nvSpPr>
          <p:cNvPr id="6" name="TextBox 5"/>
          <p:cNvSpPr txBox="1"/>
          <p:nvPr/>
        </p:nvSpPr>
        <p:spPr bwMode="gray">
          <a:xfrm>
            <a:off x="487680" y="6481704"/>
            <a:ext cx="609600" cy="123111"/>
          </a:xfrm>
          <a:prstGeom prst="rect">
            <a:avLst/>
          </a:prstGeom>
          <a:noFill/>
        </p:spPr>
        <p:txBody>
          <a:bodyPr wrap="square" lIns="0" tIns="0" rIns="0" bIns="0" rtlCol="0" anchor="b">
            <a:spAutoFit/>
          </a:bodyPr>
          <a:lstStyle/>
          <a:p>
            <a:pPr algn="l"/>
            <a:fld id="{95CC1D26-A9BD-4BDE-BDD9-08EDBAE96860}" type="slidenum">
              <a:rPr lang="en-US" sz="800" smtClean="0">
                <a:solidFill>
                  <a:srgbClr val="8C8C8C"/>
                </a:solidFill>
              </a:rPr>
              <a:pPr algn="l"/>
              <a:t>‹#›</a:t>
            </a:fld>
            <a:endParaRPr lang="en-US" sz="800">
              <a:solidFill>
                <a:srgbClr val="8C8C8C"/>
              </a:solidFill>
            </a:endParaRPr>
          </a:p>
        </p:txBody>
      </p:sp>
    </p:spTree>
    <p:extLst>
      <p:ext uri="{BB962C8B-B14F-4D97-AF65-F5344CB8AC3E}">
        <p14:creationId xmlns:p14="http://schemas.microsoft.com/office/powerpoint/2010/main" val="111103523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Lst>
  <p:hf hd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85"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87680" y="295683"/>
            <a:ext cx="11216640" cy="1244192"/>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bwMode="gray">
          <a:xfrm>
            <a:off x="487680" y="1611313"/>
            <a:ext cx="11216640" cy="4734292"/>
          </a:xfrm>
          <a:prstGeom prst="rect">
            <a:avLst/>
          </a:prstGeom>
        </p:spPr>
        <p:txBody>
          <a:bodyPr vert="horz" lIns="0" tIns="0" rIns="0" bIns="0" rtlCol="0">
            <a:noAutofit/>
          </a:bodyPr>
          <a:lstStyle/>
          <a:p>
            <a:pPr lvl="0"/>
            <a:r>
              <a:rPr lang="en-US"/>
              <a:t>Click to edit Master text styles</a:t>
            </a:r>
          </a:p>
          <a:p>
            <a:pPr lvl="1"/>
            <a:r>
              <a:rPr lang="en-US"/>
              <a:t>Bullet level 1</a:t>
            </a:r>
          </a:p>
          <a:p>
            <a:pPr lvl="2"/>
            <a:r>
              <a:rPr lang="en-US"/>
              <a:t>Bullet level 2</a:t>
            </a:r>
          </a:p>
          <a:p>
            <a:pPr lvl="3"/>
            <a:r>
              <a:rPr lang="en-US"/>
              <a:t>Bullet level 3</a:t>
            </a:r>
          </a:p>
          <a:p>
            <a:pPr lvl="4"/>
            <a:r>
              <a:rPr lang="en-US"/>
              <a:t>Bullet level 4</a:t>
            </a:r>
          </a:p>
        </p:txBody>
      </p:sp>
      <p:pic>
        <p:nvPicPr>
          <p:cNvPr id="6" name="Picture 4" descr="Oregon Health Authority : Apply or renew your OHP online with ONE : Oregon  Health Plan : State of Oregon">
            <a:extLst>
              <a:ext uri="{FF2B5EF4-FFF2-40B4-BE49-F238E27FC236}">
                <a16:creationId xmlns:a16="http://schemas.microsoft.com/office/drawing/2014/main" id="{EE4420A1-CDD2-4A0F-85D3-AC649235E2F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707418" y="6345605"/>
            <a:ext cx="2309090" cy="386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613180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Lst>
  <p:hf hdr="0" ft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0" indent="0" algn="l" defTabSz="914400" rtl="0" eaLnBrk="1" latinLnBrk="0" hangingPunct="1">
        <a:spcBef>
          <a:spcPts val="1200"/>
        </a:spcBef>
        <a:buSzPct val="100000"/>
        <a:buFont typeface="Arial" panose="020B0604020202020204" pitchFamily="34" charset="0"/>
        <a:buNone/>
        <a:defRPr sz="1800" b="0" kern="1200">
          <a:solidFill>
            <a:schemeClr val="tx2"/>
          </a:solidFill>
          <a:latin typeface="+mn-lt"/>
          <a:ea typeface="+mn-ea"/>
          <a:cs typeface="+mn-cs"/>
        </a:defRPr>
      </a:lvl1pPr>
      <a:lvl2pPr marL="2032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2pPr>
      <a:lvl3pPr marL="431800" indent="-203200" algn="l" defTabSz="914400" rtl="0" eaLnBrk="1" latinLnBrk="0" hangingPunct="1">
        <a:spcBef>
          <a:spcPts val="600"/>
        </a:spcBef>
        <a:buClrTx/>
        <a:buSzPct val="100000"/>
        <a:buFont typeface="Arial"/>
        <a:buChar char="−"/>
        <a:defRPr lang="en-US" sz="1800" kern="1200" dirty="0" smtClean="0">
          <a:solidFill>
            <a:schemeClr val="tx2"/>
          </a:solidFill>
          <a:latin typeface="+mn-lt"/>
          <a:ea typeface="+mn-ea"/>
          <a:cs typeface="+mn-cs"/>
        </a:defRPr>
      </a:lvl3pPr>
      <a:lvl4pPr marL="660400" indent="-203200" algn="l" defTabSz="914400" rtl="0" eaLnBrk="1" latinLnBrk="0" hangingPunct="1">
        <a:spcBef>
          <a:spcPts val="600"/>
        </a:spcBef>
        <a:buClrTx/>
        <a:buSzPct val="100000"/>
        <a:buFont typeface="Arial"/>
        <a:buChar char="◦"/>
        <a:defRPr lang="en-US" sz="1600" kern="1200" baseline="0" dirty="0" smtClean="0">
          <a:solidFill>
            <a:schemeClr val="tx2"/>
          </a:solidFill>
          <a:latin typeface="+mn-lt"/>
          <a:ea typeface="+mn-ea"/>
          <a:cs typeface="+mn-cs"/>
        </a:defRPr>
      </a:lvl4pPr>
      <a:lvl5pPr marL="889000" indent="-203200" algn="l" defTabSz="798513" rtl="0" eaLnBrk="1" latinLnBrk="0" hangingPunct="1">
        <a:spcBef>
          <a:spcPts val="600"/>
        </a:spcBef>
        <a:buClrTx/>
        <a:buSzPct val="100000"/>
        <a:buFont typeface="Arial"/>
        <a:buChar char="−"/>
        <a:tabLst/>
        <a:defRPr lang="en-US" sz="1600" kern="1200" baseline="0" dirty="0" smtClean="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6/10/2021</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328228628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Lst>
  <p:hf hd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5.xml"/><Relationship Id="rId1" Type="http://schemas.openxmlformats.org/officeDocument/2006/relationships/tags" Target="../tags/tag6.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image" Target="../media/image10.png"/><Relationship Id="rId1" Type="http://schemas.openxmlformats.org/officeDocument/2006/relationships/slideLayout" Target="../slideLayouts/slideLayout2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hyperlink" Target="https://dhsoha.sharepoint.com/teams/Hub-DHS-ET/Known%20Issues%20%20Interim%20Business%20Processes/Forms/AllItems.aspx?id=/teams/Hub-DHS-ET/Known%20Issues%20%20Interim%20Business%20Processes/IBPs/IBP%20-%2020-111.pdf&amp;parent=/teams/Hub-DHS-ET/Known%20Issues%20%20Interim%20Business%20Processes/IBPs" TargetMode="External"/><Relationship Id="rId2" Type="http://schemas.openxmlformats.org/officeDocument/2006/relationships/notesSlide" Target="../notesSlides/notesSlide6.xml"/><Relationship Id="rId1" Type="http://schemas.openxmlformats.org/officeDocument/2006/relationships/slideLayout" Target="../slideLayouts/slideLayout23.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21029ED5-F105-4DD2-99C8-1E44228179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2D621E68-BF28-4A1C-B1A2-4E55E139E79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1" name="Straight Connector 10">
              <a:extLst>
                <a:ext uri="{FF2B5EF4-FFF2-40B4-BE49-F238E27FC236}">
                  <a16:creationId xmlns:a16="http://schemas.microsoft.com/office/drawing/2014/main" id="{BE8BBE4D-F0DF-49B9-B75A-99DAC53ACA7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12" name="Rectangle 23">
              <a:extLst>
                <a:ext uri="{FF2B5EF4-FFF2-40B4-BE49-F238E27FC236}">
                  <a16:creationId xmlns:a16="http://schemas.microsoft.com/office/drawing/2014/main" id="{E0F07DDC-34A6-46A1-9DE9-2BBE2931A55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3" name="Rectangle 25">
              <a:extLst>
                <a:ext uri="{FF2B5EF4-FFF2-40B4-BE49-F238E27FC236}">
                  <a16:creationId xmlns:a16="http://schemas.microsoft.com/office/drawing/2014/main" id="{2CEB2BF9-B8DB-45B9-86EA-D197B5B1AEF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4" name="Isosceles Triangle 13">
              <a:extLst>
                <a:ext uri="{FF2B5EF4-FFF2-40B4-BE49-F238E27FC236}">
                  <a16:creationId xmlns:a16="http://schemas.microsoft.com/office/drawing/2014/main" id="{08B5BB34-3801-4E70-A981-FE007635E11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27">
              <a:extLst>
                <a:ext uri="{FF2B5EF4-FFF2-40B4-BE49-F238E27FC236}">
                  <a16:creationId xmlns:a16="http://schemas.microsoft.com/office/drawing/2014/main" id="{38432A75-2CEB-463C-A8F2-ABB50A79F44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6" name="Rectangle 28">
              <a:extLst>
                <a:ext uri="{FF2B5EF4-FFF2-40B4-BE49-F238E27FC236}">
                  <a16:creationId xmlns:a16="http://schemas.microsoft.com/office/drawing/2014/main" id="{E7E850B8-C050-4597-8BEB-113FEC9A27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Rectangle 29">
              <a:extLst>
                <a:ext uri="{FF2B5EF4-FFF2-40B4-BE49-F238E27FC236}">
                  <a16:creationId xmlns:a16="http://schemas.microsoft.com/office/drawing/2014/main" id="{24ACC798-9CEC-4B6F-A8DD-F8E6FCCCF1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1D58A8C6-1294-4CD9-89BC-F1E981A524A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a:extLst>
                <a:ext uri="{FF2B5EF4-FFF2-40B4-BE49-F238E27FC236}">
                  <a16:creationId xmlns:a16="http://schemas.microsoft.com/office/drawing/2014/main" id="{F32F2ED6-6143-46C4-A641-72D42732B6F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6" name="Rectangle 20">
            <a:extLst>
              <a:ext uri="{FF2B5EF4-FFF2-40B4-BE49-F238E27FC236}">
                <a16:creationId xmlns:a16="http://schemas.microsoft.com/office/drawing/2014/main" id="{5C9652B3-A450-4ED6-8FBF-F536BA60B4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222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F1166F7-A84C-47BC-99FD-7655B5AF30B7}"/>
              </a:ext>
            </a:extLst>
          </p:cNvPr>
          <p:cNvPicPr>
            <a:picLocks noChangeAspect="1"/>
          </p:cNvPicPr>
          <p:nvPr/>
        </p:nvPicPr>
        <p:blipFill rotWithShape="1">
          <a:blip r:embed="rId4">
            <a:extLst>
              <a:ext uri="{28A0092B-C50C-407E-A947-70E740481C1C}">
                <a14:useLocalDpi xmlns:a14="http://schemas.microsoft.com/office/drawing/2010/main" val="0"/>
              </a:ext>
            </a:extLst>
          </a:blip>
          <a:srcRect r="1" b="1062"/>
          <a:stretch/>
        </p:blipFill>
        <p:spPr>
          <a:xfrm>
            <a:off x="568452" y="571500"/>
            <a:ext cx="11055096" cy="5715000"/>
          </a:xfrm>
          <a:prstGeom prst="rect">
            <a:avLst/>
          </a:prstGeom>
        </p:spPr>
      </p:pic>
    </p:spTree>
    <p:custDataLst>
      <p:tags r:id="rId1"/>
    </p:custDataLst>
    <p:extLst>
      <p:ext uri="{BB962C8B-B14F-4D97-AF65-F5344CB8AC3E}">
        <p14:creationId xmlns:p14="http://schemas.microsoft.com/office/powerpoint/2010/main" val="22233788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677334" y="609600"/>
            <a:ext cx="8596668" cy="630238"/>
          </a:xfrm>
        </p:spPr>
        <p:txBody>
          <a:bodyPr>
            <a:normAutofit fontScale="90000"/>
          </a:bodyPr>
          <a:lstStyle/>
          <a:p>
            <a:r>
              <a:rPr lang="en-US"/>
              <a:t>Recent Change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675745" y="1237057"/>
            <a:ext cx="8596668" cy="5169430"/>
          </a:xfrm>
        </p:spPr>
        <p:txBody>
          <a:bodyPr vert="horz" lIns="91440" tIns="45720" rIns="91440" bIns="45720" rtlCol="0" anchor="t">
            <a:normAutofit/>
          </a:bodyPr>
          <a:lstStyle/>
          <a:p>
            <a:pPr marL="0" indent="0">
              <a:buNone/>
            </a:pPr>
            <a:r>
              <a:rPr lang="en-US">
                <a:solidFill>
                  <a:srgbClr val="000000"/>
                </a:solidFill>
                <a:latin typeface="Calibri"/>
                <a:cs typeface="Calibri"/>
              </a:rPr>
              <a:t>Service Categories</a:t>
            </a:r>
            <a:endParaRPr lang="en-US"/>
          </a:p>
          <a:p>
            <a:pPr>
              <a:buFont typeface="Arial" panose="020B0604020202020204" pitchFamily="34" charset="0"/>
              <a:buChar char="•"/>
            </a:pPr>
            <a:r>
              <a:rPr lang="en-US" b="1" i="1"/>
              <a:t>Evaluation of NMAGISERV and MSERV</a:t>
            </a:r>
            <a:r>
              <a:rPr lang="en-US"/>
              <a:t> - Individuals receiving Waivered and K Plan services must be evaluated for additional financial eligibility criteria (Asset Transfer and Home Equity Value).  The NMAGISERV and MSERV TOAs represent evaluation of these additional financial eligibility criteria.  In the past, NMAGISERV/MSERV were being evaluated for State Plan Personal Care (SPPC) and General Fund Service eligibility categories, even though these recipients were not required to meet the NMAGISERV/MSERV criteria. </a:t>
            </a:r>
            <a:endParaRPr lang="en-US">
              <a:ea typeface="+mn-lt"/>
              <a:cs typeface="+mn-lt"/>
            </a:endParaRPr>
          </a:p>
          <a:p>
            <a:pPr>
              <a:buFont typeface="'Wingdings 3',Sans-Serif" panose="020B0604020202020204" pitchFamily="34" charset="0"/>
            </a:pPr>
            <a:endParaRPr lang="en-US">
              <a:ea typeface="+mn-lt"/>
              <a:cs typeface="+mn-lt"/>
            </a:endParaRPr>
          </a:p>
          <a:p>
            <a:pPr>
              <a:buFont typeface="Arial" panose="020B0604020202020204" pitchFamily="34" charset="0"/>
              <a:buChar char="•"/>
            </a:pPr>
            <a:r>
              <a:rPr lang="en-US"/>
              <a:t>ONE has been modified so that it no longer evaluates for NMAGISERV/MSERV when the recipient service eligibility does not require the evaluation.  The Service Categories for which </a:t>
            </a:r>
            <a:r>
              <a:rPr lang="en-US" b="1"/>
              <a:t>NMAGISERV/MSERV will no longer be evaluated are</a:t>
            </a:r>
            <a:r>
              <a:rPr lang="en-US"/>
              <a:t>:</a:t>
            </a:r>
            <a:endParaRPr lang="en-US">
              <a:ea typeface="+mn-lt"/>
              <a:cs typeface="+mn-lt"/>
            </a:endParaRPr>
          </a:p>
          <a:p>
            <a:pPr>
              <a:buFont typeface="Arial" panose="020B0604020202020204" pitchFamily="34" charset="0"/>
              <a:buChar char="•"/>
            </a:pPr>
            <a:endParaRPr lang="en-US">
              <a:solidFill>
                <a:srgbClr val="000000"/>
              </a:solidFill>
              <a:latin typeface="Calibri"/>
              <a:cs typeface="Calibri"/>
            </a:endParaRPr>
          </a:p>
          <a:p>
            <a:endParaRPr lang="en-US"/>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10</a:t>
            </a:fld>
            <a:endParaRPr lang="en-US"/>
          </a:p>
        </p:txBody>
      </p:sp>
      <p:sp>
        <p:nvSpPr>
          <p:cNvPr id="3" name="Rectangle: Rounded Corners 2">
            <a:extLst>
              <a:ext uri="{FF2B5EF4-FFF2-40B4-BE49-F238E27FC236}">
                <a16:creationId xmlns:a16="http://schemas.microsoft.com/office/drawing/2014/main" id="{FAC85704-A12C-4199-AF4C-E36DD383E949}"/>
              </a:ext>
            </a:extLst>
          </p:cNvPr>
          <p:cNvSpPr/>
          <p:nvPr/>
        </p:nvSpPr>
        <p:spPr>
          <a:xfrm>
            <a:off x="969818" y="5638185"/>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A</a:t>
            </a:r>
          </a:p>
        </p:txBody>
      </p:sp>
      <p:sp>
        <p:nvSpPr>
          <p:cNvPr id="6" name="Rectangle: Rounded Corners 5">
            <a:extLst>
              <a:ext uri="{FF2B5EF4-FFF2-40B4-BE49-F238E27FC236}">
                <a16:creationId xmlns:a16="http://schemas.microsoft.com/office/drawing/2014/main" id="{1E06767A-336D-435B-A985-A1F8A5903418}"/>
              </a:ext>
            </a:extLst>
          </p:cNvPr>
          <p:cNvSpPr/>
          <p:nvPr/>
        </p:nvSpPr>
        <p:spPr>
          <a:xfrm>
            <a:off x="2025354"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D</a:t>
            </a:r>
          </a:p>
        </p:txBody>
      </p:sp>
      <p:sp>
        <p:nvSpPr>
          <p:cNvPr id="7" name="Rectangle: Rounded Corners 6">
            <a:extLst>
              <a:ext uri="{FF2B5EF4-FFF2-40B4-BE49-F238E27FC236}">
                <a16:creationId xmlns:a16="http://schemas.microsoft.com/office/drawing/2014/main" id="{BF2AEA85-1789-4DB8-B956-5A0EC33D39A3}"/>
              </a:ext>
            </a:extLst>
          </p:cNvPr>
          <p:cNvSpPr/>
          <p:nvPr/>
        </p:nvSpPr>
        <p:spPr>
          <a:xfrm>
            <a:off x="3078734" y="5645420"/>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M</a:t>
            </a:r>
          </a:p>
        </p:txBody>
      </p:sp>
      <p:sp>
        <p:nvSpPr>
          <p:cNvPr id="9" name="Rectangle: Rounded Corners 8">
            <a:extLst>
              <a:ext uri="{FF2B5EF4-FFF2-40B4-BE49-F238E27FC236}">
                <a16:creationId xmlns:a16="http://schemas.microsoft.com/office/drawing/2014/main" id="{A5A0232D-B7D4-4961-8214-61474C713153}"/>
              </a:ext>
            </a:extLst>
          </p:cNvPr>
          <p:cNvSpPr/>
          <p:nvPr/>
        </p:nvSpPr>
        <p:spPr>
          <a:xfrm>
            <a:off x="4103820" y="5645420"/>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PO</a:t>
            </a:r>
          </a:p>
        </p:txBody>
      </p:sp>
      <p:sp>
        <p:nvSpPr>
          <p:cNvPr id="10" name="Rectangle: Rounded Corners 9">
            <a:extLst>
              <a:ext uri="{FF2B5EF4-FFF2-40B4-BE49-F238E27FC236}">
                <a16:creationId xmlns:a16="http://schemas.microsoft.com/office/drawing/2014/main" id="{67975307-E56C-489C-812A-1206CF4FC6B5}"/>
              </a:ext>
            </a:extLst>
          </p:cNvPr>
          <p:cNvSpPr/>
          <p:nvPr/>
        </p:nvSpPr>
        <p:spPr>
          <a:xfrm>
            <a:off x="5092074"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DDG</a:t>
            </a:r>
          </a:p>
        </p:txBody>
      </p:sp>
      <p:sp>
        <p:nvSpPr>
          <p:cNvPr id="11" name="Rectangle: Rounded Corners 10">
            <a:extLst>
              <a:ext uri="{FF2B5EF4-FFF2-40B4-BE49-F238E27FC236}">
                <a16:creationId xmlns:a16="http://schemas.microsoft.com/office/drawing/2014/main" id="{DEFB307F-2521-49DB-B166-C4DDED38915A}"/>
              </a:ext>
            </a:extLst>
          </p:cNvPr>
          <p:cNvSpPr/>
          <p:nvPr/>
        </p:nvSpPr>
        <p:spPr>
          <a:xfrm>
            <a:off x="6132757"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FSG</a:t>
            </a:r>
          </a:p>
        </p:txBody>
      </p:sp>
      <p:sp>
        <p:nvSpPr>
          <p:cNvPr id="12" name="Rectangle: Rounded Corners 11">
            <a:extLst>
              <a:ext uri="{FF2B5EF4-FFF2-40B4-BE49-F238E27FC236}">
                <a16:creationId xmlns:a16="http://schemas.microsoft.com/office/drawing/2014/main" id="{B1C132CF-AFE6-4024-BC81-14EA8482CEB5}"/>
              </a:ext>
            </a:extLst>
          </p:cNvPr>
          <p:cNvSpPr/>
          <p:nvPr/>
        </p:nvSpPr>
        <p:spPr>
          <a:xfrm>
            <a:off x="7114942" y="5638184"/>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FSL</a:t>
            </a:r>
          </a:p>
        </p:txBody>
      </p:sp>
      <p:sp>
        <p:nvSpPr>
          <p:cNvPr id="13" name="Rectangle: Rounded Corners 12">
            <a:extLst>
              <a:ext uri="{FF2B5EF4-FFF2-40B4-BE49-F238E27FC236}">
                <a16:creationId xmlns:a16="http://schemas.microsoft.com/office/drawing/2014/main" id="{34F67289-CF3B-4244-B704-5A807335B431}"/>
              </a:ext>
            </a:extLst>
          </p:cNvPr>
          <p:cNvSpPr/>
          <p:nvPr/>
        </p:nvSpPr>
        <p:spPr>
          <a:xfrm>
            <a:off x="8101541" y="5645420"/>
            <a:ext cx="683339" cy="44857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PI</a:t>
            </a:r>
          </a:p>
        </p:txBody>
      </p:sp>
    </p:spTree>
    <p:extLst>
      <p:ext uri="{BB962C8B-B14F-4D97-AF65-F5344CB8AC3E}">
        <p14:creationId xmlns:p14="http://schemas.microsoft.com/office/powerpoint/2010/main" val="18413947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522351" y="144651"/>
            <a:ext cx="8596668" cy="618542"/>
          </a:xfrm>
        </p:spPr>
        <p:txBody>
          <a:bodyPr>
            <a:normAutofit fontScale="90000"/>
          </a:bodyPr>
          <a:lstStyle/>
          <a:p>
            <a:r>
              <a:rPr lang="en-US"/>
              <a:t>Pending Questions</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520762" y="760014"/>
            <a:ext cx="9139705" cy="5843541"/>
          </a:xfrm>
        </p:spPr>
        <p:txBody>
          <a:bodyPr vert="horz" lIns="91440" tIns="45720" rIns="91440" bIns="45720" rtlCol="0" anchor="t">
            <a:noAutofit/>
          </a:bodyPr>
          <a:lstStyle/>
          <a:p>
            <a:pPr>
              <a:buNone/>
            </a:pPr>
            <a:r>
              <a:rPr lang="en-US" sz="1400" b="1">
                <a:latin typeface="Calibri"/>
                <a:cs typeface="Calibri"/>
              </a:rPr>
              <a:t>APD LTC and ONE Payment Systems</a:t>
            </a:r>
            <a:endParaRPr lang="en-US" sz="1400" b="1">
              <a:latin typeface="Calibri"/>
              <a:ea typeface="+mn-lt"/>
              <a:cs typeface="Calibri"/>
            </a:endParaRPr>
          </a:p>
          <a:p>
            <a:pPr fontAlgn="base">
              <a:buFont typeface="Arial" panose="020B0604020202020204" pitchFamily="34" charset="0"/>
              <a:buChar char="•"/>
            </a:pPr>
            <a:r>
              <a:rPr lang="en-US" sz="1400" b="0" i="0">
                <a:solidFill>
                  <a:srgbClr val="000000"/>
                </a:solidFill>
                <a:effectLst/>
                <a:latin typeface="Calibri"/>
                <a:cs typeface="Calibri"/>
              </a:rPr>
              <a:t>OPI change of income, wants to apply for OSIPM, what process do we take? </a:t>
            </a:r>
          </a:p>
          <a:p>
            <a:pPr lvl="1">
              <a:buFont typeface="Wingdings" panose="020B0604020202020204" pitchFamily="34" charset="0"/>
              <a:buChar char="Ø"/>
            </a:pPr>
            <a:r>
              <a:rPr lang="en-US" sz="1400">
                <a:solidFill>
                  <a:srgbClr val="000000"/>
                </a:solidFill>
                <a:latin typeface="Calibri"/>
                <a:cs typeface="Calibri"/>
              </a:rPr>
              <a:t>Follow your existing local process for coordinating OPI benefits and then provide individual information about how to apply for medical.  If they are already receiving benefits in ONE,  see the APD/AAA Office Internal Communications ETOP</a:t>
            </a:r>
          </a:p>
          <a:p>
            <a:pPr>
              <a:buNone/>
            </a:pPr>
            <a:r>
              <a:rPr lang="en-US" sz="1400" b="1">
                <a:latin typeface="Calibri"/>
                <a:cs typeface="Calibri"/>
              </a:rPr>
              <a:t>APD LTC and ONE </a:t>
            </a:r>
            <a:r>
              <a:rPr lang="en-US" sz="1400" b="1" i="0">
                <a:effectLst/>
                <a:latin typeface="Calibri"/>
                <a:cs typeface="Calibri"/>
              </a:rPr>
              <a:t>Medical Related Payments</a:t>
            </a:r>
            <a:r>
              <a:rPr lang="en-US" sz="1400" b="1">
                <a:latin typeface="Calibri"/>
                <a:cs typeface="Calibri"/>
              </a:rPr>
              <a:t> (MRPs)</a:t>
            </a:r>
            <a:endParaRPr lang="en-US" sz="1400" b="1">
              <a:latin typeface="Calibri"/>
              <a:ea typeface="+mn-lt"/>
              <a:cs typeface="Calibri"/>
            </a:endParaRPr>
          </a:p>
          <a:p>
            <a:pPr>
              <a:buFont typeface="Arial" panose="020B0604020202020204" pitchFamily="34" charset="0"/>
              <a:buChar char="•"/>
            </a:pPr>
            <a:r>
              <a:rPr lang="en-US" sz="1400">
                <a:solidFill>
                  <a:srgbClr val="000000"/>
                </a:solidFill>
                <a:latin typeface="Calibri"/>
                <a:cs typeface="Calibri"/>
              </a:rPr>
              <a:t>Do we still send PIF payments to people in ALFs when they do not have the necessary funds to have personal money? </a:t>
            </a:r>
            <a:endParaRPr lang="en-US" sz="1400">
              <a:latin typeface="Calibri"/>
              <a:ea typeface="+mn-lt"/>
              <a:cs typeface="+mn-lt"/>
            </a:endParaRPr>
          </a:p>
          <a:p>
            <a:pPr lvl="1">
              <a:buFont typeface="Wingdings" charset="2"/>
              <a:buChar char="Ø"/>
            </a:pPr>
            <a:r>
              <a:rPr lang="en-US" sz="1400">
                <a:solidFill>
                  <a:srgbClr val="000000"/>
                </a:solidFill>
                <a:latin typeface="Calibri"/>
                <a:cs typeface="Calibri"/>
              </a:rPr>
              <a:t>The rules around this special needs payment have not changed – see OAR 461-155-0700 for more info</a:t>
            </a:r>
          </a:p>
          <a:p>
            <a:pPr marL="0" indent="0">
              <a:buNone/>
            </a:pPr>
            <a:r>
              <a:rPr lang="en-US" sz="1400" b="1">
                <a:latin typeface="Calibri"/>
                <a:cs typeface="Calibri"/>
              </a:rPr>
              <a:t>APD LTC and ONE Renewals</a:t>
            </a:r>
          </a:p>
          <a:p>
            <a:pPr algn="l" rtl="0" fontAlgn="base">
              <a:buFont typeface="Arial" panose="020B0604020202020204" pitchFamily="34" charset="0"/>
              <a:buChar char="•"/>
            </a:pPr>
            <a:r>
              <a:rPr lang="en-US" sz="1400" b="0" i="0">
                <a:solidFill>
                  <a:srgbClr val="000000"/>
                </a:solidFill>
                <a:effectLst/>
                <a:latin typeface="Calibri"/>
                <a:cs typeface="Calibri"/>
              </a:rPr>
              <a:t>What do we do if we get the MED 044 back with no indication of a change or no change? </a:t>
            </a:r>
          </a:p>
          <a:p>
            <a:pPr lvl="1">
              <a:buFont typeface="Wingdings" panose="020B0604020202020204" pitchFamily="34" charset="0"/>
              <a:buChar char="Ø"/>
            </a:pPr>
            <a:r>
              <a:rPr lang="en-US" sz="1400">
                <a:solidFill>
                  <a:srgbClr val="000000"/>
                </a:solidFill>
                <a:latin typeface="Calibri"/>
                <a:cs typeface="Calibri"/>
              </a:rPr>
              <a:t>Follow the instructions on the Renewals and Recertifications QRG</a:t>
            </a:r>
          </a:p>
          <a:p>
            <a:pPr algn="l" rtl="0" fontAlgn="base">
              <a:buFont typeface="Arial" panose="020B0604020202020204" pitchFamily="34" charset="0"/>
              <a:buChar char="•"/>
            </a:pPr>
            <a:r>
              <a:rPr lang="en-US" sz="1400" b="0" i="0">
                <a:solidFill>
                  <a:srgbClr val="000000"/>
                </a:solidFill>
                <a:effectLst/>
                <a:latin typeface="Calibri"/>
                <a:cs typeface="Calibri"/>
              </a:rPr>
              <a:t>Are case managers or are eligibility workers responsible for doing ICP 6-month reviews now</a:t>
            </a:r>
            <a:r>
              <a:rPr lang="en-US" sz="1400">
                <a:solidFill>
                  <a:srgbClr val="000000"/>
                </a:solidFill>
                <a:latin typeface="Calibri"/>
                <a:cs typeface="Calibri"/>
              </a:rPr>
              <a:t>?</a:t>
            </a:r>
            <a:r>
              <a:rPr lang="en-US" sz="1400" b="0" i="0">
                <a:solidFill>
                  <a:srgbClr val="000000"/>
                </a:solidFill>
                <a:effectLst/>
                <a:latin typeface="Calibri"/>
                <a:cs typeface="Calibri"/>
              </a:rPr>
              <a:t> </a:t>
            </a:r>
          </a:p>
          <a:p>
            <a:pPr lvl="1" fontAlgn="base">
              <a:buFont typeface="Wingdings" panose="020B0604020202020204" pitchFamily="34" charset="0"/>
              <a:buChar char="Ø"/>
            </a:pPr>
            <a:r>
              <a:rPr lang="en-US" sz="1400">
                <a:solidFill>
                  <a:srgbClr val="000000"/>
                </a:solidFill>
                <a:latin typeface="Calibri"/>
                <a:cs typeface="Calibri"/>
              </a:rPr>
              <a:t>Case Managers do the ICP 6-month review. It does not have anything to do with their financial eligibility </a:t>
            </a:r>
          </a:p>
          <a:p>
            <a:pPr lvl="1" fontAlgn="base">
              <a:buFont typeface="Arial" panose="020B0604020202020204" pitchFamily="34" charset="0"/>
              <a:buChar char="•"/>
            </a:pPr>
            <a:endParaRPr lang="en-US" b="0" i="0">
              <a:solidFill>
                <a:srgbClr val="000000"/>
              </a:solidFill>
              <a:effectLst/>
              <a:latin typeface="Calibri"/>
              <a:cs typeface="Calibri"/>
            </a:endParaRPr>
          </a:p>
          <a:p>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1</a:t>
            </a:fld>
            <a:endParaRPr lang="en-US"/>
          </a:p>
        </p:txBody>
      </p:sp>
    </p:spTree>
    <p:extLst>
      <p:ext uri="{BB962C8B-B14F-4D97-AF65-F5344CB8AC3E}">
        <p14:creationId xmlns:p14="http://schemas.microsoft.com/office/powerpoint/2010/main" val="3420731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677334" y="609600"/>
            <a:ext cx="8596668" cy="726831"/>
          </a:xfrm>
        </p:spPr>
        <p:txBody>
          <a:bodyPr/>
          <a:lstStyle/>
          <a:p>
            <a:r>
              <a:rPr lang="en-US"/>
              <a:t>Pending Questions continued</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675745" y="1336431"/>
            <a:ext cx="8596668" cy="5359774"/>
          </a:xfrm>
        </p:spPr>
        <p:txBody>
          <a:bodyPr vert="horz" lIns="91440" tIns="45720" rIns="91440" bIns="45720" rtlCol="0" anchor="t">
            <a:normAutofit/>
          </a:bodyPr>
          <a:lstStyle/>
          <a:p>
            <a:pPr marL="0" indent="0">
              <a:buNone/>
            </a:pPr>
            <a:r>
              <a:rPr lang="en-US">
                <a:latin typeface="Trebuchet MS"/>
                <a:cs typeface="Calibri"/>
              </a:rPr>
              <a:t>APD LTC and ONE DQ's, RA's, and ICT's</a:t>
            </a:r>
            <a:endParaRPr lang="en-US"/>
          </a:p>
          <a:p>
            <a:pPr marL="685800" lvl="1">
              <a:buFont typeface="Arial" charset="2"/>
              <a:buChar char="•"/>
            </a:pPr>
            <a:r>
              <a:rPr lang="en-US">
                <a:latin typeface="Calibri"/>
                <a:ea typeface="+mn-lt"/>
                <a:cs typeface="+mn-lt"/>
              </a:rPr>
              <a:t>Where in ONE do we see the DQ timeframe? </a:t>
            </a:r>
            <a:endParaRPr lang="en-US">
              <a:latin typeface="Calibri"/>
              <a:ea typeface="+mn-lt"/>
              <a:cs typeface="Calibri"/>
            </a:endParaRPr>
          </a:p>
          <a:p>
            <a:pPr marL="685800" lvl="1">
              <a:buFont typeface="Arial" charset="2"/>
              <a:buChar char="•"/>
            </a:pPr>
            <a:endParaRPr lang="en-US">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endParaRPr lang="en-US">
              <a:solidFill>
                <a:srgbClr val="000000"/>
              </a:solidFill>
              <a:latin typeface="Calibri"/>
              <a:cs typeface="Calibri"/>
            </a:endParaRPr>
          </a:p>
          <a:p>
            <a:pPr marL="685800" lvl="1">
              <a:buFont typeface="Arial" charset="2"/>
              <a:buChar char="•"/>
            </a:pPr>
            <a:r>
              <a:rPr lang="en-US">
                <a:solidFill>
                  <a:srgbClr val="000000"/>
                </a:solidFill>
                <a:latin typeface="Calibri"/>
                <a:cs typeface="Calibri"/>
              </a:rPr>
              <a:t>For the ICT accounts. ONE pends for an Income Cap Trust to move forward with approving benefits. How do we get around the ICT being required if DQ must be served before services can begin? </a:t>
            </a:r>
            <a:endParaRPr lang="en-US">
              <a:solidFill>
                <a:srgbClr val="404040"/>
              </a:solidFill>
              <a:latin typeface="Calibri"/>
              <a:cs typeface="Calibri"/>
            </a:endParaRPr>
          </a:p>
          <a:p>
            <a:pPr marL="1085850" lvl="2">
              <a:buFont typeface="Arial" charset="2"/>
              <a:buChar char="•"/>
            </a:pPr>
            <a:r>
              <a:rPr lang="en-US">
                <a:solidFill>
                  <a:srgbClr val="000000"/>
                </a:solidFill>
                <a:latin typeface="Calibri"/>
                <a:cs typeface="Calibri"/>
              </a:rPr>
              <a:t>This has been logged as a defect, and an IBP is in progress</a:t>
            </a:r>
          </a:p>
          <a:p>
            <a:pPr marL="0" indent="0">
              <a:buNone/>
            </a:pPr>
            <a:endParaRPr lang="en-US">
              <a:cs typeface="Calibri"/>
            </a:endParaRPr>
          </a:p>
          <a:p>
            <a:pPr marL="0" indent="0">
              <a:buNone/>
            </a:pPr>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2</a:t>
            </a:fld>
            <a:endParaRPr lang="en-US"/>
          </a:p>
        </p:txBody>
      </p:sp>
      <p:pic>
        <p:nvPicPr>
          <p:cNvPr id="3" name="Picture 4">
            <a:extLst>
              <a:ext uri="{FF2B5EF4-FFF2-40B4-BE49-F238E27FC236}">
                <a16:creationId xmlns:a16="http://schemas.microsoft.com/office/drawing/2014/main" id="{4B269150-A4A7-4831-B6DB-433A03335E8A}"/>
              </a:ext>
            </a:extLst>
          </p:cNvPr>
          <p:cNvPicPr>
            <a:picLocks noChangeAspect="1"/>
          </p:cNvPicPr>
          <p:nvPr/>
        </p:nvPicPr>
        <p:blipFill>
          <a:blip r:embed="rId2"/>
          <a:stretch>
            <a:fillRect/>
          </a:stretch>
        </p:blipFill>
        <p:spPr>
          <a:xfrm>
            <a:off x="1646644" y="2100364"/>
            <a:ext cx="6648449" cy="1144624"/>
          </a:xfrm>
          <a:prstGeom prst="rect">
            <a:avLst/>
          </a:prstGeom>
        </p:spPr>
      </p:pic>
      <p:pic>
        <p:nvPicPr>
          <p:cNvPr id="5" name="Picture 5">
            <a:extLst>
              <a:ext uri="{FF2B5EF4-FFF2-40B4-BE49-F238E27FC236}">
                <a16:creationId xmlns:a16="http://schemas.microsoft.com/office/drawing/2014/main" id="{327241DB-2814-4FAE-B5A4-61320A65AA25}"/>
              </a:ext>
            </a:extLst>
          </p:cNvPr>
          <p:cNvPicPr>
            <a:picLocks noChangeAspect="1"/>
          </p:cNvPicPr>
          <p:nvPr/>
        </p:nvPicPr>
        <p:blipFill>
          <a:blip r:embed="rId3"/>
          <a:stretch>
            <a:fillRect/>
          </a:stretch>
        </p:blipFill>
        <p:spPr>
          <a:xfrm>
            <a:off x="1150504" y="3427304"/>
            <a:ext cx="7648573" cy="1943660"/>
          </a:xfrm>
          <a:prstGeom prst="rect">
            <a:avLst/>
          </a:prstGeom>
        </p:spPr>
      </p:pic>
    </p:spTree>
    <p:extLst>
      <p:ext uri="{BB962C8B-B14F-4D97-AF65-F5344CB8AC3E}">
        <p14:creationId xmlns:p14="http://schemas.microsoft.com/office/powerpoint/2010/main" val="7239123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567045" y="258679"/>
            <a:ext cx="8596668" cy="726831"/>
          </a:xfrm>
        </p:spPr>
        <p:txBody>
          <a:bodyPr/>
          <a:lstStyle/>
          <a:p>
            <a:r>
              <a:rPr lang="en-US"/>
              <a:t>Pending Questions continued</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445140" y="905299"/>
            <a:ext cx="9228325" cy="5186193"/>
          </a:xfrm>
        </p:spPr>
        <p:txBody>
          <a:bodyPr vert="horz" lIns="91440" tIns="45720" rIns="91440" bIns="45720" rtlCol="0" anchor="t">
            <a:normAutofit/>
          </a:bodyPr>
          <a:lstStyle/>
          <a:p>
            <a:pPr marL="0" indent="0">
              <a:buNone/>
            </a:pPr>
            <a:r>
              <a:rPr lang="en-US" sz="2400"/>
              <a:t>APD LTC and ONE Forms, Notices, and Reports</a:t>
            </a:r>
            <a:endParaRPr lang="en-US" sz="2000"/>
          </a:p>
          <a:p>
            <a:pPr>
              <a:buFont typeface="Arial" charset="2"/>
              <a:buChar char="•"/>
            </a:pPr>
            <a:r>
              <a:rPr lang="en-US" sz="2000">
                <a:solidFill>
                  <a:srgbClr val="000000"/>
                </a:solidFill>
                <a:latin typeface="Calibri"/>
                <a:cs typeface="Calibri"/>
              </a:rPr>
              <a:t>SPL</a:t>
            </a:r>
            <a:r>
              <a:rPr lang="en-US" sz="2000">
                <a:solidFill>
                  <a:srgbClr val="000000"/>
                </a:solidFill>
                <a:latin typeface="Calibri"/>
                <a:ea typeface="+mn-lt"/>
                <a:cs typeface="Calibri"/>
              </a:rPr>
              <a:t> eligible but not financially eligible, wait until day 45 to send 540?  </a:t>
            </a:r>
            <a:endParaRPr lang="en-US" sz="2000">
              <a:ea typeface="+mn-lt"/>
              <a:cs typeface="+mn-lt"/>
            </a:endParaRPr>
          </a:p>
          <a:p>
            <a:pPr lvl="2">
              <a:buFont typeface="Wingdings" charset="2"/>
              <a:buChar char="Ø"/>
            </a:pPr>
            <a:r>
              <a:rPr lang="en-US" sz="2000">
                <a:solidFill>
                  <a:srgbClr val="000000"/>
                </a:solidFill>
                <a:latin typeface="Calibri"/>
                <a:ea typeface="+mn-lt"/>
                <a:cs typeface="Calibri"/>
              </a:rPr>
              <a:t>No, we don't need wait until day 45, CMs should send the service denial notice as soon as they become aware the individual is ineligible</a:t>
            </a:r>
          </a:p>
          <a:p>
            <a:pPr marL="914400" lvl="2" indent="0">
              <a:buNone/>
            </a:pPr>
            <a:endParaRPr lang="en-US" sz="1800">
              <a:solidFill>
                <a:srgbClr val="000000"/>
              </a:solidFill>
              <a:latin typeface="Calibri"/>
              <a:ea typeface="+mn-lt"/>
              <a:cs typeface="Calibri"/>
            </a:endParaRPr>
          </a:p>
          <a:p>
            <a:pPr marL="914400" lvl="2" indent="0">
              <a:buNone/>
            </a:pPr>
            <a:endParaRPr lang="en-US" sz="1800">
              <a:solidFill>
                <a:srgbClr val="000000"/>
              </a:solidFill>
              <a:latin typeface="Calibri"/>
              <a:ea typeface="+mn-lt"/>
              <a:cs typeface="Calibri"/>
            </a:endParaRPr>
          </a:p>
          <a:p>
            <a:pPr marL="0" indent="0">
              <a:buNone/>
            </a:pPr>
            <a:r>
              <a:rPr lang="en-US" sz="2400">
                <a:ea typeface="+mn-lt"/>
                <a:cs typeface="+mn-lt"/>
              </a:rPr>
              <a:t>APD LTC and ONE Medical Deductions and Liability</a:t>
            </a:r>
          </a:p>
          <a:p>
            <a:pPr>
              <a:buFont typeface="Arial" charset="2"/>
              <a:buChar char="•"/>
            </a:pPr>
            <a:r>
              <a:rPr lang="en-US" sz="2000">
                <a:solidFill>
                  <a:srgbClr val="000000"/>
                </a:solidFill>
                <a:latin typeface="Calibri"/>
                <a:ea typeface="+mn-lt"/>
                <a:cs typeface="Calibri"/>
              </a:rPr>
              <a:t>Waiving</a:t>
            </a:r>
            <a:r>
              <a:rPr lang="en-US" sz="2000">
                <a:solidFill>
                  <a:srgbClr val="000000"/>
                </a:solidFill>
                <a:latin typeface="Calibri"/>
                <a:cs typeface="Calibri"/>
              </a:rPr>
              <a:t> liability in MMIS for a new consumer </a:t>
            </a:r>
            <a:endParaRPr lang="en-US" sz="2000"/>
          </a:p>
          <a:p>
            <a:pPr lvl="1">
              <a:buFont typeface="Wingdings" charset="2"/>
              <a:buChar char="Ø"/>
            </a:pPr>
            <a:r>
              <a:rPr lang="en-US" sz="2000">
                <a:solidFill>
                  <a:srgbClr val="000000"/>
                </a:solidFill>
                <a:latin typeface="Calibri"/>
                <a:cs typeface="Calibri"/>
              </a:rPr>
              <a:t>This is a common practice for NF residents, but should only be done for the initial month.  </a:t>
            </a:r>
          </a:p>
          <a:p>
            <a:pPr marL="0" indent="0">
              <a:buNone/>
            </a:pPr>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3</a:t>
            </a:fld>
            <a:endParaRPr lang="en-US"/>
          </a:p>
        </p:txBody>
      </p:sp>
    </p:spTree>
    <p:extLst>
      <p:ext uri="{BB962C8B-B14F-4D97-AF65-F5344CB8AC3E}">
        <p14:creationId xmlns:p14="http://schemas.microsoft.com/office/powerpoint/2010/main" val="20741287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D6C35-976E-4D92-AD2D-E2FA928EA5F1}"/>
              </a:ext>
            </a:extLst>
          </p:cNvPr>
          <p:cNvSpPr>
            <a:spLocks noGrp="1"/>
          </p:cNvSpPr>
          <p:nvPr>
            <p:ph type="title"/>
          </p:nvPr>
        </p:nvSpPr>
        <p:spPr>
          <a:xfrm>
            <a:off x="567045" y="258679"/>
            <a:ext cx="8596668" cy="726831"/>
          </a:xfrm>
        </p:spPr>
        <p:txBody>
          <a:bodyPr/>
          <a:lstStyle/>
          <a:p>
            <a:r>
              <a:rPr lang="en-US"/>
              <a:t>Pending Questions continued</a:t>
            </a:r>
          </a:p>
        </p:txBody>
      </p:sp>
      <p:sp>
        <p:nvSpPr>
          <p:cNvPr id="4" name="Content Placeholder 3">
            <a:extLst>
              <a:ext uri="{FF2B5EF4-FFF2-40B4-BE49-F238E27FC236}">
                <a16:creationId xmlns:a16="http://schemas.microsoft.com/office/drawing/2014/main" id="{6EA13D77-F188-4737-BDE8-6465E58A5283}"/>
              </a:ext>
            </a:extLst>
          </p:cNvPr>
          <p:cNvSpPr>
            <a:spLocks noGrp="1"/>
          </p:cNvSpPr>
          <p:nvPr>
            <p:ph sz="half" idx="2"/>
          </p:nvPr>
        </p:nvSpPr>
        <p:spPr>
          <a:xfrm>
            <a:off x="292326" y="865885"/>
            <a:ext cx="5223330" cy="5908779"/>
          </a:xfrm>
        </p:spPr>
        <p:txBody>
          <a:bodyPr vert="horz" lIns="91440" tIns="45720" rIns="91440" bIns="45720" rtlCol="0" anchor="t">
            <a:normAutofit fontScale="92500"/>
          </a:bodyPr>
          <a:lstStyle/>
          <a:p>
            <a:pPr marL="0" indent="0">
              <a:buNone/>
            </a:pPr>
            <a:r>
              <a:rPr lang="en-US">
                <a:ea typeface="+mn-lt"/>
                <a:cs typeface="+mn-lt"/>
              </a:rPr>
              <a:t>APD LTC and ONE Medical Deductions and Liability</a:t>
            </a:r>
            <a:endParaRPr lang="en-US"/>
          </a:p>
          <a:p>
            <a:pPr>
              <a:buFont typeface="Arial,Sans-Serif" charset="2"/>
              <a:buChar char="•"/>
            </a:pPr>
            <a:r>
              <a:rPr lang="en-US" sz="1600">
                <a:solidFill>
                  <a:srgbClr val="000000"/>
                </a:solidFill>
                <a:latin typeface="Calibri"/>
                <a:ea typeface="+mn-lt"/>
                <a:cs typeface="Calibri"/>
              </a:rPr>
              <a:t>What happened to </a:t>
            </a:r>
            <a:r>
              <a:rPr lang="en-US" sz="1600">
                <a:solidFill>
                  <a:srgbClr val="000000"/>
                </a:solidFill>
                <a:latin typeface="Calibri"/>
                <a:cs typeface="Calibri"/>
              </a:rPr>
              <a:t>liability the month client moved from one setting to another, like moving from NF to ACH or ACH to home? </a:t>
            </a:r>
            <a:endParaRPr lang="en-US" sz="1600">
              <a:ea typeface="+mn-lt"/>
              <a:cs typeface="+mn-lt"/>
            </a:endParaRPr>
          </a:p>
          <a:p>
            <a:pPr lvl="1">
              <a:buFont typeface="Wingdings,Sans-Serif" charset="2"/>
              <a:buChar char="Ø"/>
            </a:pPr>
            <a:r>
              <a:rPr lang="en-US" sz="1500">
                <a:latin typeface="Calibri"/>
                <a:cs typeface="Calibri"/>
              </a:rPr>
              <a:t>If an SELG change in service setting is received mid-month and with no break in overall service eligibility aid, ONE will follow adverse action if the liability is larger.  If the new liability is lower, it will apply the new amount beginning the date the setting changes. </a:t>
            </a:r>
            <a:endParaRPr lang="en-US" sz="1500">
              <a:latin typeface="Calibri"/>
              <a:ea typeface="+mn-lt"/>
              <a:cs typeface="+mn-lt"/>
            </a:endParaRPr>
          </a:p>
          <a:p>
            <a:pPr lvl="1">
              <a:buFont typeface="Wingdings,Sans-Serif" charset="2"/>
              <a:buChar char="Ø"/>
            </a:pPr>
            <a:r>
              <a:rPr lang="en-US" sz="1500">
                <a:latin typeface="Calibri"/>
                <a:cs typeface="Calibri"/>
              </a:rPr>
              <a:t>As far as what the client should actually pay, we don't pro-rate liability, but the service payment for the respective provider/settings </a:t>
            </a:r>
            <a:r>
              <a:rPr lang="en-US" sz="1500" i="1">
                <a:latin typeface="Calibri"/>
                <a:cs typeface="Calibri"/>
              </a:rPr>
              <a:t>is</a:t>
            </a:r>
            <a:r>
              <a:rPr lang="en-US" sz="1500">
                <a:latin typeface="Calibri"/>
                <a:cs typeface="Calibri"/>
              </a:rPr>
              <a:t> pro-rated.  If the liability for the previous setting/provider has been exhausted or used up by the pro-rated service amount, we generally zero out the liability for the new setting because realistically they would have nothing with which to pay (especially if going from NF to CBC). If it wasn't, then technically they should be refunded and apply the remainder towards the new setting.  If it’s then not used up by the new provider’s pro-rated service amount, then they should be refunded by that provider.  That said, we know that CMs usually just zero it out in this scenario because clients have no control over when they will receive refunds. </a:t>
            </a:r>
            <a:endParaRPr lang="en-US" sz="1500">
              <a:ea typeface="+mn-lt"/>
              <a:cs typeface="+mn-lt"/>
            </a:endParaRPr>
          </a:p>
          <a:p>
            <a:pPr>
              <a:buFont typeface="Arial" charset="2"/>
              <a:buChar char="•"/>
            </a:pPr>
            <a:endParaRPr lang="en-US" sz="1600">
              <a:solidFill>
                <a:srgbClr val="000000"/>
              </a:solidFill>
              <a:latin typeface="Calibri"/>
              <a:cs typeface="Calibri"/>
            </a:endParaRPr>
          </a:p>
          <a:p>
            <a:pPr marL="0" indent="0">
              <a:buNone/>
            </a:pPr>
            <a:endParaRPr lang="en-US"/>
          </a:p>
        </p:txBody>
      </p:sp>
      <p:sp>
        <p:nvSpPr>
          <p:cNvPr id="8" name="Slide Number Placeholder 7">
            <a:extLst>
              <a:ext uri="{FF2B5EF4-FFF2-40B4-BE49-F238E27FC236}">
                <a16:creationId xmlns:a16="http://schemas.microsoft.com/office/drawing/2014/main" id="{96188E3B-8E2C-4532-89A4-3F388EE0443B}"/>
              </a:ext>
            </a:extLst>
          </p:cNvPr>
          <p:cNvSpPr>
            <a:spLocks noGrp="1"/>
          </p:cNvSpPr>
          <p:nvPr>
            <p:ph type="sldNum" sz="quarter" idx="12"/>
          </p:nvPr>
        </p:nvSpPr>
        <p:spPr/>
        <p:txBody>
          <a:bodyPr/>
          <a:lstStyle/>
          <a:p>
            <a:fld id="{1024D82B-1252-45EC-8B21-B20462CE42E6}" type="slidenum">
              <a:rPr lang="en-US" smtClean="0"/>
              <a:t>14</a:t>
            </a:fld>
            <a:endParaRPr lang="en-US"/>
          </a:p>
        </p:txBody>
      </p:sp>
      <p:pic>
        <p:nvPicPr>
          <p:cNvPr id="3" name="Picture 4">
            <a:extLst>
              <a:ext uri="{FF2B5EF4-FFF2-40B4-BE49-F238E27FC236}">
                <a16:creationId xmlns:a16="http://schemas.microsoft.com/office/drawing/2014/main" id="{4BC7077E-063F-42AB-84F9-A1B964BA9297}"/>
              </a:ext>
            </a:extLst>
          </p:cNvPr>
          <p:cNvPicPr>
            <a:picLocks noChangeAspect="1"/>
          </p:cNvPicPr>
          <p:nvPr/>
        </p:nvPicPr>
        <p:blipFill rotWithShape="1">
          <a:blip r:embed="rId2"/>
          <a:srcRect l="3049" t="-758" r="8536"/>
          <a:stretch/>
        </p:blipFill>
        <p:spPr>
          <a:xfrm>
            <a:off x="5479141" y="2029027"/>
            <a:ext cx="4365248" cy="1331596"/>
          </a:xfrm>
          <a:prstGeom prst="rect">
            <a:avLst/>
          </a:prstGeom>
        </p:spPr>
      </p:pic>
    </p:spTree>
    <p:extLst>
      <p:ext uri="{BB962C8B-B14F-4D97-AF65-F5344CB8AC3E}">
        <p14:creationId xmlns:p14="http://schemas.microsoft.com/office/powerpoint/2010/main" val="16944683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27577DEC-D9A5-404D-9789-702F4319BE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CEEA9366-CEA8-4F23-B065-4337F0D836F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8467"/>
            <a:ext cx="12192000" cy="6866467"/>
            <a:chOff x="0" y="-8467"/>
            <a:chExt cx="12192000" cy="6866467"/>
          </a:xfrm>
        </p:grpSpPr>
        <p:cxnSp>
          <p:nvCxnSpPr>
            <p:cNvPr id="16" name="Straight Connector 15">
              <a:extLst>
                <a:ext uri="{FF2B5EF4-FFF2-40B4-BE49-F238E27FC236}">
                  <a16:creationId xmlns:a16="http://schemas.microsoft.com/office/drawing/2014/main" id="{904A03D6-39B4-4278-9BE1-A07E024499BE}"/>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BE459AF-3736-4886-82E0-9B5DA427B5E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chemeClr val="bg1">
                  <a:alpha val="80000"/>
                </a:schemeClr>
              </a:solidFill>
            </a:ln>
          </p:spPr>
          <p:style>
            <a:lnRef idx="2">
              <a:schemeClr val="accent1"/>
            </a:lnRef>
            <a:fillRef idx="0">
              <a:schemeClr val="accent1"/>
            </a:fillRef>
            <a:effectRef idx="1">
              <a:schemeClr val="accent1"/>
            </a:effectRef>
            <a:fontRef idx="minor">
              <a:schemeClr val="tx1"/>
            </a:fontRef>
          </p:style>
        </p:cxnSp>
        <p:sp>
          <p:nvSpPr>
            <p:cNvPr id="18" name="Rectangle 23">
              <a:extLst>
                <a:ext uri="{FF2B5EF4-FFF2-40B4-BE49-F238E27FC236}">
                  <a16:creationId xmlns:a16="http://schemas.microsoft.com/office/drawing/2014/main" id="{4B6B88EF-180C-4E39-8A3F-A52E87110C6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25">
              <a:extLst>
                <a:ext uri="{FF2B5EF4-FFF2-40B4-BE49-F238E27FC236}">
                  <a16:creationId xmlns:a16="http://schemas.microsoft.com/office/drawing/2014/main" id="{52DFAACF-64D0-4621-8FF4-E2F03C3E8D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Isosceles Triangle 19">
              <a:extLst>
                <a:ext uri="{FF2B5EF4-FFF2-40B4-BE49-F238E27FC236}">
                  <a16:creationId xmlns:a16="http://schemas.microsoft.com/office/drawing/2014/main" id="{36611FF0-65B3-49DB-97C6-1B72AAD0FB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27">
              <a:extLst>
                <a:ext uri="{FF2B5EF4-FFF2-40B4-BE49-F238E27FC236}">
                  <a16:creationId xmlns:a16="http://schemas.microsoft.com/office/drawing/2014/main" id="{0F7407FE-86B1-4890-9D80-9406FBF29E4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9">
              <a:extLst>
                <a:ext uri="{FF2B5EF4-FFF2-40B4-BE49-F238E27FC236}">
                  <a16:creationId xmlns:a16="http://schemas.microsoft.com/office/drawing/2014/main" id="{EBD42D5B-8F87-45B3-98B3-C66944F92E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a:extLst>
                <a:ext uri="{FF2B5EF4-FFF2-40B4-BE49-F238E27FC236}">
                  <a16:creationId xmlns:a16="http://schemas.microsoft.com/office/drawing/2014/main" id="{F5E04699-59E1-4468-9E7C-83070EEB42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a:extLst>
                <a:ext uri="{FF2B5EF4-FFF2-40B4-BE49-F238E27FC236}">
                  <a16:creationId xmlns:a16="http://schemas.microsoft.com/office/drawing/2014/main" id="{F2AE8F13-9A52-4D7F-9637-321EA7CF32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a:extLst>
              <a:ext uri="{FF2B5EF4-FFF2-40B4-BE49-F238E27FC236}">
                <a16:creationId xmlns:a16="http://schemas.microsoft.com/office/drawing/2014/main" id="{D566765B-40AD-46A6-AFAC-E3188A51E5B8}"/>
              </a:ext>
            </a:extLst>
          </p:cNvPr>
          <p:cNvSpPr>
            <a:spLocks noGrp="1"/>
          </p:cNvSpPr>
          <p:nvPr>
            <p:ph type="ctrTitle"/>
          </p:nvPr>
        </p:nvSpPr>
        <p:spPr>
          <a:xfrm>
            <a:off x="1507067" y="2404534"/>
            <a:ext cx="7766936" cy="1646302"/>
          </a:xfrm>
        </p:spPr>
        <p:txBody>
          <a:bodyPr>
            <a:normAutofit/>
          </a:bodyPr>
          <a:lstStyle/>
          <a:p>
            <a:pPr algn="ctr"/>
            <a:r>
              <a:rPr lang="en-US"/>
              <a:t>Demo and Q&amp;A</a:t>
            </a:r>
          </a:p>
        </p:txBody>
      </p:sp>
      <p:sp>
        <p:nvSpPr>
          <p:cNvPr id="8" name="Slide Number Placeholder 7">
            <a:extLst>
              <a:ext uri="{FF2B5EF4-FFF2-40B4-BE49-F238E27FC236}">
                <a16:creationId xmlns:a16="http://schemas.microsoft.com/office/drawing/2014/main" id="{847E773B-85CD-4062-A32E-ECF7C6F7B523}"/>
              </a:ext>
            </a:extLst>
          </p:cNvPr>
          <p:cNvSpPr>
            <a:spLocks noGrp="1"/>
          </p:cNvSpPr>
          <p:nvPr>
            <p:ph type="sldNum" sz="quarter" idx="12"/>
          </p:nvPr>
        </p:nvSpPr>
        <p:spPr>
          <a:xfrm>
            <a:off x="8590663" y="6041362"/>
            <a:ext cx="683339" cy="365125"/>
          </a:xfrm>
        </p:spPr>
        <p:txBody>
          <a:bodyPr>
            <a:normAutofit/>
          </a:bodyPr>
          <a:lstStyle/>
          <a:p>
            <a:pPr>
              <a:spcAft>
                <a:spcPts val="600"/>
              </a:spcAft>
            </a:pPr>
            <a:fld id="{1024D82B-1252-45EC-8B21-B20462CE42E6}" type="slidenum">
              <a:rPr lang="en-US" smtClean="0"/>
              <a:pPr>
                <a:spcAft>
                  <a:spcPts val="600"/>
                </a:spcAft>
              </a:pPr>
              <a:t>15</a:t>
            </a:fld>
            <a:endParaRPr lang="en-US"/>
          </a:p>
        </p:txBody>
      </p:sp>
    </p:spTree>
    <p:extLst>
      <p:ext uri="{BB962C8B-B14F-4D97-AF65-F5344CB8AC3E}">
        <p14:creationId xmlns:p14="http://schemas.microsoft.com/office/powerpoint/2010/main" val="2203141175"/>
      </p:ext>
    </p:extLst>
  </p:cSld>
  <p:clrMapOvr>
    <a:overrideClrMapping bg1="dk1" tx1="lt1" bg2="dk2" tx2="lt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A7ADC3C-FBAB-4C67-8622-2A66405D479A}"/>
              </a:ext>
            </a:extLst>
          </p:cNvPr>
          <p:cNvSpPr>
            <a:spLocks noGrp="1"/>
          </p:cNvSpPr>
          <p:nvPr>
            <p:ph type="title"/>
          </p:nvPr>
        </p:nvSpPr>
        <p:spPr>
          <a:xfrm>
            <a:off x="2192668" y="1840234"/>
            <a:ext cx="5986132" cy="1320800"/>
          </a:xfrm>
        </p:spPr>
        <p:txBody>
          <a:bodyPr vert="horz" lIns="91440" tIns="45720" rIns="91440" bIns="45720" rtlCol="0" anchor="t">
            <a:noAutofit/>
          </a:bodyPr>
          <a:lstStyle/>
          <a:p>
            <a:r>
              <a:rPr lang="en-US" sz="6000">
                <a:solidFill>
                  <a:srgbClr val="0070C0"/>
                </a:solidFill>
              </a:rPr>
              <a:t>APD/AAA Q&amp;A</a:t>
            </a:r>
          </a:p>
        </p:txBody>
      </p:sp>
      <p:sp>
        <p:nvSpPr>
          <p:cNvPr id="6" name="Text Placeholder 5">
            <a:extLst>
              <a:ext uri="{FF2B5EF4-FFF2-40B4-BE49-F238E27FC236}">
                <a16:creationId xmlns:a16="http://schemas.microsoft.com/office/drawing/2014/main" id="{B702F0C3-2244-4DF3-8739-5455FF0232CC}"/>
              </a:ext>
            </a:extLst>
          </p:cNvPr>
          <p:cNvSpPr>
            <a:spLocks noGrp="1"/>
          </p:cNvSpPr>
          <p:nvPr>
            <p:ph type="body" sz="half" idx="2"/>
          </p:nvPr>
        </p:nvSpPr>
        <p:spPr>
          <a:xfrm>
            <a:off x="2277598" y="3161034"/>
            <a:ext cx="4763557" cy="1429278"/>
          </a:xfrm>
        </p:spPr>
        <p:txBody>
          <a:bodyPr vert="horz" lIns="91440" tIns="45720" rIns="91440" bIns="45720" rtlCol="0">
            <a:normAutofit/>
          </a:bodyPr>
          <a:lstStyle/>
          <a:p>
            <a:r>
              <a:rPr lang="en-US" sz="2000">
                <a:solidFill>
                  <a:schemeClr val="accent2"/>
                </a:solidFill>
              </a:rPr>
              <a:t>Q&amp;A Wrap Up</a:t>
            </a:r>
          </a:p>
          <a:p>
            <a:r>
              <a:rPr lang="en-US" sz="2000">
                <a:solidFill>
                  <a:schemeClr val="accent2"/>
                </a:solidFill>
              </a:rPr>
              <a:t>6/10/2021</a:t>
            </a:r>
          </a:p>
          <a:p>
            <a:endParaRPr lang="en-US"/>
          </a:p>
        </p:txBody>
      </p:sp>
      <p:sp>
        <p:nvSpPr>
          <p:cNvPr id="3" name="Slide Number Placeholder 2">
            <a:extLst>
              <a:ext uri="{FF2B5EF4-FFF2-40B4-BE49-F238E27FC236}">
                <a16:creationId xmlns:a16="http://schemas.microsoft.com/office/drawing/2014/main" id="{FBB36F02-B7FD-4DA6-BB54-C9161A456644}"/>
              </a:ext>
            </a:extLst>
          </p:cNvPr>
          <p:cNvSpPr>
            <a:spLocks noGrp="1"/>
          </p:cNvSpPr>
          <p:nvPr>
            <p:ph type="sldNum" sz="quarter" idx="12"/>
          </p:nvPr>
        </p:nvSpPr>
        <p:spPr>
          <a:xfrm>
            <a:off x="8590663" y="6041362"/>
            <a:ext cx="683339" cy="365125"/>
          </a:xfrm>
        </p:spPr>
        <p:txBody>
          <a:bodyPr vert="horz" lIns="91440" tIns="45720" rIns="91440" bIns="45720" rtlCol="0" anchor="ctr">
            <a:normAutofit/>
          </a:bodyPr>
          <a:lstStyle/>
          <a:p>
            <a:pPr>
              <a:spcAft>
                <a:spcPts val="600"/>
              </a:spcAft>
            </a:pPr>
            <a:fld id="{1024D82B-1252-45EC-8B21-B20462CE42E6}" type="slidenum">
              <a:rPr lang="en-US">
                <a:solidFill>
                  <a:srgbClr val="FFFFFF"/>
                </a:solidFill>
              </a:rPr>
              <a:pPr>
                <a:spcAft>
                  <a:spcPts val="600"/>
                </a:spcAft>
              </a:pPr>
              <a:t>2</a:t>
            </a:fld>
            <a:endParaRPr lang="en-US">
              <a:solidFill>
                <a:srgbClr val="FFFFFF"/>
              </a:solidFill>
            </a:endParaRPr>
          </a:p>
        </p:txBody>
      </p:sp>
    </p:spTree>
    <p:extLst>
      <p:ext uri="{BB962C8B-B14F-4D97-AF65-F5344CB8AC3E}">
        <p14:creationId xmlns:p14="http://schemas.microsoft.com/office/powerpoint/2010/main" val="1293911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D3848-3933-4222-B2F6-816DDDC4A685}"/>
              </a:ext>
            </a:extLst>
          </p:cNvPr>
          <p:cNvSpPr>
            <a:spLocks noGrp="1"/>
          </p:cNvSpPr>
          <p:nvPr>
            <p:ph type="title"/>
          </p:nvPr>
        </p:nvSpPr>
        <p:spPr>
          <a:xfrm>
            <a:off x="467269" y="529772"/>
            <a:ext cx="9727055" cy="1320800"/>
          </a:xfrm>
        </p:spPr>
        <p:txBody>
          <a:bodyPr/>
          <a:lstStyle/>
          <a:p>
            <a:r>
              <a:rPr lang="en-US"/>
              <a:t>APD/AAA LTC Services &amp; ONE Q&amp;A Series</a:t>
            </a:r>
          </a:p>
        </p:txBody>
      </p:sp>
      <p:sp>
        <p:nvSpPr>
          <p:cNvPr id="6" name="Slide Number Placeholder 5">
            <a:extLst>
              <a:ext uri="{FF2B5EF4-FFF2-40B4-BE49-F238E27FC236}">
                <a16:creationId xmlns:a16="http://schemas.microsoft.com/office/drawing/2014/main" id="{AEB3CD13-3F60-49C8-A334-64E624FEF199}"/>
              </a:ext>
            </a:extLst>
          </p:cNvPr>
          <p:cNvSpPr>
            <a:spLocks noGrp="1"/>
          </p:cNvSpPr>
          <p:nvPr>
            <p:ph type="sldNum" sz="quarter" idx="12"/>
          </p:nvPr>
        </p:nvSpPr>
        <p:spPr/>
        <p:txBody>
          <a:bodyPr/>
          <a:lstStyle/>
          <a:p>
            <a:fld id="{1024D82B-1252-45EC-8B21-B20462CE42E6}" type="slidenum">
              <a:rPr lang="en-US" smtClean="0"/>
              <a:t>3</a:t>
            </a:fld>
            <a:endParaRPr lang="en-US"/>
          </a:p>
        </p:txBody>
      </p:sp>
      <p:sp>
        <p:nvSpPr>
          <p:cNvPr id="9" name="Content Placeholder 2">
            <a:extLst>
              <a:ext uri="{FF2B5EF4-FFF2-40B4-BE49-F238E27FC236}">
                <a16:creationId xmlns:a16="http://schemas.microsoft.com/office/drawing/2014/main" id="{0DF82BC1-CC4D-451A-A1D8-07FE2BE3E37D}"/>
              </a:ext>
            </a:extLst>
          </p:cNvPr>
          <p:cNvSpPr txBox="1">
            <a:spLocks/>
          </p:cNvSpPr>
          <p:nvPr/>
        </p:nvSpPr>
        <p:spPr>
          <a:xfrm>
            <a:off x="375086" y="1486927"/>
            <a:ext cx="9213757" cy="403654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a:t>This series of APD learning sessions is directed toward an audience of Case Managers. If you are an eligibility worker, this will give you an understanding how Case Managers and Eligibility Workers work together in ONE.</a:t>
            </a:r>
          </a:p>
          <a:p>
            <a:r>
              <a:rPr lang="en-US"/>
              <a:t>Thursdays, 3:00-4:30 PST</a:t>
            </a:r>
          </a:p>
          <a:p>
            <a:r>
              <a:rPr lang="en-US"/>
              <a:t>Please type your questions in the Q&amp;A         with as much detail as possible before submitting. Questions will be answered after the presentation.</a:t>
            </a:r>
          </a:p>
          <a:p>
            <a:r>
              <a:rPr lang="en-US"/>
              <a:t>Questions should be specific to the topic of the session. For case specific discussion or questions, contact APD Medicaid Policy.</a:t>
            </a:r>
          </a:p>
          <a:p>
            <a:r>
              <a:rPr lang="en-US"/>
              <a:t>Recordings will be made available on CM Tools/ONE System Information &amp; Resources. Please note content is subject to change based on system changes.</a:t>
            </a:r>
          </a:p>
          <a:p>
            <a:endParaRPr lang="en-US"/>
          </a:p>
        </p:txBody>
      </p:sp>
      <p:pic>
        <p:nvPicPr>
          <p:cNvPr id="14" name="Picture 13">
            <a:extLst>
              <a:ext uri="{FF2B5EF4-FFF2-40B4-BE49-F238E27FC236}">
                <a16:creationId xmlns:a16="http://schemas.microsoft.com/office/drawing/2014/main" id="{F9FCCFF0-0458-4392-AB88-F6F0A734DE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07244" y="2713961"/>
            <a:ext cx="476316" cy="400106"/>
          </a:xfrm>
          <a:prstGeom prst="rect">
            <a:avLst/>
          </a:prstGeom>
        </p:spPr>
      </p:pic>
    </p:spTree>
    <p:extLst>
      <p:ext uri="{BB962C8B-B14F-4D97-AF65-F5344CB8AC3E}">
        <p14:creationId xmlns:p14="http://schemas.microsoft.com/office/powerpoint/2010/main" val="323565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C7B0-2715-4846-A371-FDD3451457DD}"/>
              </a:ext>
            </a:extLst>
          </p:cNvPr>
          <p:cNvSpPr>
            <a:spLocks noGrp="1"/>
          </p:cNvSpPr>
          <p:nvPr>
            <p:ph type="title"/>
          </p:nvPr>
        </p:nvSpPr>
        <p:spPr/>
        <p:txBody>
          <a:bodyPr/>
          <a:lstStyle/>
          <a:p>
            <a:r>
              <a:rPr lang="en-US"/>
              <a:t>APD/AAA LTC &amp; ONE Q&amp;A Series</a:t>
            </a:r>
          </a:p>
        </p:txBody>
      </p:sp>
      <p:sp>
        <p:nvSpPr>
          <p:cNvPr id="4" name="Content Placeholder 3">
            <a:extLst>
              <a:ext uri="{FF2B5EF4-FFF2-40B4-BE49-F238E27FC236}">
                <a16:creationId xmlns:a16="http://schemas.microsoft.com/office/drawing/2014/main" id="{A2FA1B2D-7C55-453A-945B-B62BE18BFE5C}"/>
              </a:ext>
            </a:extLst>
          </p:cNvPr>
          <p:cNvSpPr>
            <a:spLocks noGrp="1"/>
          </p:cNvSpPr>
          <p:nvPr>
            <p:ph sz="half" idx="2"/>
          </p:nvPr>
        </p:nvSpPr>
        <p:spPr>
          <a:xfrm>
            <a:off x="98854" y="2395263"/>
            <a:ext cx="4608626" cy="3304117"/>
          </a:xfrm>
        </p:spPr>
        <p:txBody>
          <a:bodyPr>
            <a:normAutofit/>
          </a:bodyPr>
          <a:lstStyle/>
          <a:p>
            <a:pPr marL="0" indent="0">
              <a:buNone/>
            </a:pPr>
            <a:endParaRPr lang="en-US"/>
          </a:p>
          <a:p>
            <a:pPr marL="0" indent="0">
              <a:buNone/>
            </a:pPr>
            <a:endParaRPr lang="en-US"/>
          </a:p>
          <a:p>
            <a:pPr marL="0" indent="0">
              <a:buNone/>
            </a:pPr>
            <a:r>
              <a:rPr lang="en-US">
                <a:solidFill>
                  <a:schemeClr val="accent1"/>
                </a:solidFill>
              </a:rPr>
              <a:t>       Facilitator:</a:t>
            </a:r>
            <a:r>
              <a:rPr lang="en-US"/>
              <a:t> Christy Jo Williams, ET 			     	     Portfolio Manager – APD</a:t>
            </a:r>
          </a:p>
          <a:p>
            <a:pPr marL="0" indent="0">
              <a:buNone/>
            </a:pPr>
            <a:r>
              <a:rPr lang="en-US">
                <a:solidFill>
                  <a:schemeClr val="accent1"/>
                </a:solidFill>
              </a:rPr>
              <a:t>Q&amp;A Moderator: </a:t>
            </a:r>
            <a:r>
              <a:rPr lang="en-US"/>
              <a:t>Trevor Waskin, APD  				     Direct Service Manager</a:t>
            </a:r>
          </a:p>
          <a:p>
            <a:pPr marL="0" indent="0">
              <a:buNone/>
            </a:pPr>
            <a:endParaRPr lang="en-US"/>
          </a:p>
          <a:p>
            <a:pPr marL="0" indent="0">
              <a:buNone/>
            </a:pPr>
            <a:endParaRPr lang="en-US"/>
          </a:p>
        </p:txBody>
      </p:sp>
      <p:sp>
        <p:nvSpPr>
          <p:cNvPr id="5" name="Text Placeholder 4">
            <a:extLst>
              <a:ext uri="{FF2B5EF4-FFF2-40B4-BE49-F238E27FC236}">
                <a16:creationId xmlns:a16="http://schemas.microsoft.com/office/drawing/2014/main" id="{35051932-EF84-4AC0-BF40-BBC6EF5FB3E7}"/>
              </a:ext>
            </a:extLst>
          </p:cNvPr>
          <p:cNvSpPr>
            <a:spLocks noGrp="1"/>
          </p:cNvSpPr>
          <p:nvPr>
            <p:ph type="body" sz="quarter" idx="3"/>
          </p:nvPr>
        </p:nvSpPr>
        <p:spPr>
          <a:xfrm>
            <a:off x="4975668" y="1586570"/>
            <a:ext cx="4185618" cy="576262"/>
          </a:xfrm>
        </p:spPr>
        <p:txBody>
          <a:bodyPr/>
          <a:lstStyle/>
          <a:p>
            <a:r>
              <a:rPr lang="en-US" sz="1800">
                <a:solidFill>
                  <a:schemeClr val="accent1"/>
                </a:solidFill>
              </a:rPr>
              <a:t>Presenters &amp; Panelists for the Series</a:t>
            </a:r>
          </a:p>
        </p:txBody>
      </p:sp>
      <p:sp>
        <p:nvSpPr>
          <p:cNvPr id="6" name="Content Placeholder 5">
            <a:extLst>
              <a:ext uri="{FF2B5EF4-FFF2-40B4-BE49-F238E27FC236}">
                <a16:creationId xmlns:a16="http://schemas.microsoft.com/office/drawing/2014/main" id="{E927A9C0-F377-4040-A1D8-773CBEAC3CB8}"/>
              </a:ext>
            </a:extLst>
          </p:cNvPr>
          <p:cNvSpPr>
            <a:spLocks noGrp="1"/>
          </p:cNvSpPr>
          <p:nvPr>
            <p:ph sz="quarter" idx="4"/>
          </p:nvPr>
        </p:nvSpPr>
        <p:spPr>
          <a:xfrm>
            <a:off x="4793977" y="2252729"/>
            <a:ext cx="7093223" cy="3995671"/>
          </a:xfrm>
        </p:spPr>
        <p:txBody>
          <a:bodyPr>
            <a:normAutofit/>
          </a:bodyPr>
          <a:lstStyle/>
          <a:p>
            <a:r>
              <a:rPr lang="en-US" b="1"/>
              <a:t>Erika Mooney, APD Medicaid Policy Analyst</a:t>
            </a:r>
          </a:p>
          <a:p>
            <a:r>
              <a:rPr lang="en-US"/>
              <a:t>Katie Turner, ET Process Consultant – APD</a:t>
            </a:r>
          </a:p>
          <a:p>
            <a:r>
              <a:rPr lang="en-US"/>
              <a:t>Christine Maciel , LTCSS Policy</a:t>
            </a:r>
          </a:p>
          <a:p>
            <a:r>
              <a:rPr lang="en-US" err="1"/>
              <a:t>Donitta</a:t>
            </a:r>
            <a:r>
              <a:rPr lang="en-US"/>
              <a:t> Booth , LTCSS Policy</a:t>
            </a:r>
          </a:p>
          <a:p>
            <a:r>
              <a:rPr lang="en-US" b="1"/>
              <a:t>Heather Burkus, APD Medicaid Policy Analyst</a:t>
            </a:r>
          </a:p>
          <a:p>
            <a:r>
              <a:rPr lang="en-US"/>
              <a:t>Hilary Thompson, ET Process Consultant – AAA</a:t>
            </a:r>
          </a:p>
          <a:p>
            <a:r>
              <a:rPr lang="en-US"/>
              <a:t>Lisa </a:t>
            </a:r>
            <a:r>
              <a:rPr lang="en-US" err="1"/>
              <a:t>Bouchell</a:t>
            </a:r>
            <a:r>
              <a:rPr lang="en-US"/>
              <a:t>, LTCSS Policy</a:t>
            </a:r>
          </a:p>
          <a:p>
            <a:r>
              <a:rPr lang="en-US"/>
              <a:t>Mat Rapoza, APD LTSS Policy Manager</a:t>
            </a:r>
          </a:p>
          <a:p>
            <a:r>
              <a:rPr lang="en-US"/>
              <a:t>Serena Sischo, APD Medicaid Policy Analyst</a:t>
            </a:r>
          </a:p>
          <a:p>
            <a:r>
              <a:rPr lang="en-US"/>
              <a:t>Traci Lerner, LTCSS Policy</a:t>
            </a:r>
          </a:p>
        </p:txBody>
      </p:sp>
      <p:sp>
        <p:nvSpPr>
          <p:cNvPr id="8" name="Slide Number Placeholder 7">
            <a:extLst>
              <a:ext uri="{FF2B5EF4-FFF2-40B4-BE49-F238E27FC236}">
                <a16:creationId xmlns:a16="http://schemas.microsoft.com/office/drawing/2014/main" id="{7D6578FF-02E2-4E18-BAC7-11D3464D9539}"/>
              </a:ext>
            </a:extLst>
          </p:cNvPr>
          <p:cNvSpPr>
            <a:spLocks noGrp="1"/>
          </p:cNvSpPr>
          <p:nvPr>
            <p:ph type="sldNum" sz="quarter" idx="12"/>
          </p:nvPr>
        </p:nvSpPr>
        <p:spPr/>
        <p:txBody>
          <a:bodyPr/>
          <a:lstStyle/>
          <a:p>
            <a:fld id="{1024D82B-1252-45EC-8B21-B20462CE42E6}" type="slidenum">
              <a:rPr lang="en-US" smtClean="0"/>
              <a:t>4</a:t>
            </a:fld>
            <a:endParaRPr lang="en-US"/>
          </a:p>
        </p:txBody>
      </p:sp>
    </p:spTree>
    <p:extLst>
      <p:ext uri="{BB962C8B-B14F-4D97-AF65-F5344CB8AC3E}">
        <p14:creationId xmlns:p14="http://schemas.microsoft.com/office/powerpoint/2010/main" val="692921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655AE6B0-AC9E-4167-806F-E9DB135FC4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3523416A-383B-4FDC-B4C9-D8EDDFE9C0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29267" y="-8467"/>
            <a:ext cx="4766733" cy="6866467"/>
            <a:chOff x="7425267" y="-8467"/>
            <a:chExt cx="4766733" cy="6866467"/>
          </a:xfrm>
        </p:grpSpPr>
        <p:cxnSp>
          <p:nvCxnSpPr>
            <p:cNvPr id="14" name="Straight Connector 13">
              <a:extLst>
                <a:ext uri="{FF2B5EF4-FFF2-40B4-BE49-F238E27FC236}">
                  <a16:creationId xmlns:a16="http://schemas.microsoft.com/office/drawing/2014/main" id="{CB0D29D5-3F7C-4197-821B-6D60A66CC04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BFBFBF">
                  <a:alpha val="75000"/>
                </a:srgb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47FB49A-3541-428A-AADE-682A3C50563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rgbClr val="BFBFBF">
                  <a:alpha val="80000"/>
                </a:srgbClr>
              </a:solidFill>
            </a:ln>
          </p:spPr>
          <p:style>
            <a:lnRef idx="2">
              <a:schemeClr val="accent1"/>
            </a:lnRef>
            <a:fillRef idx="0">
              <a:schemeClr val="accent1"/>
            </a:fillRef>
            <a:effectRef idx="1">
              <a:schemeClr val="accent1"/>
            </a:effectRef>
            <a:fontRef idx="minor">
              <a:schemeClr val="tx1"/>
            </a:fontRef>
          </p:style>
        </p:cxnSp>
        <p:sp>
          <p:nvSpPr>
            <p:cNvPr id="16" name="Rectangle 23">
              <a:extLst>
                <a:ext uri="{FF2B5EF4-FFF2-40B4-BE49-F238E27FC236}">
                  <a16:creationId xmlns:a16="http://schemas.microsoft.com/office/drawing/2014/main" id="{D96F53DC-08F1-42C6-B558-B83D54B27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7" name="Rectangle 25">
              <a:extLst>
                <a:ext uri="{FF2B5EF4-FFF2-40B4-BE49-F238E27FC236}">
                  <a16:creationId xmlns:a16="http://schemas.microsoft.com/office/drawing/2014/main" id="{AFE48CAF-A51C-463F-A570-ED99439A5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8" name="Isosceles Triangle 17">
              <a:extLst>
                <a:ext uri="{FF2B5EF4-FFF2-40B4-BE49-F238E27FC236}">
                  <a16:creationId xmlns:a16="http://schemas.microsoft.com/office/drawing/2014/main" id="{01F0C48B-50FF-4351-8207-16D0960483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27">
              <a:extLst>
                <a:ext uri="{FF2B5EF4-FFF2-40B4-BE49-F238E27FC236}">
                  <a16:creationId xmlns:a16="http://schemas.microsoft.com/office/drawing/2014/main" id="{300384B6-5ED6-4F91-A548-B706D83751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0" name="Rectangle 28">
              <a:extLst>
                <a:ext uri="{FF2B5EF4-FFF2-40B4-BE49-F238E27FC236}">
                  <a16:creationId xmlns:a16="http://schemas.microsoft.com/office/drawing/2014/main" id="{337AFFAE-C182-463C-9459-8AB3C69D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29">
              <a:extLst>
                <a:ext uri="{FF2B5EF4-FFF2-40B4-BE49-F238E27FC236}">
                  <a16:creationId xmlns:a16="http://schemas.microsoft.com/office/drawing/2014/main" id="{510ACF17-C3F0-42BF-BDEB-D079277121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Isosceles Triangle 21">
              <a:extLst>
                <a:ext uri="{FF2B5EF4-FFF2-40B4-BE49-F238E27FC236}">
                  <a16:creationId xmlns:a16="http://schemas.microsoft.com/office/drawing/2014/main" id="{E804EFD0-B84E-476F-9FC6-6C4A42EA00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4" name="Rectangle 23">
            <a:extLst>
              <a:ext uri="{FF2B5EF4-FFF2-40B4-BE49-F238E27FC236}">
                <a16:creationId xmlns:a16="http://schemas.microsoft.com/office/drawing/2014/main" id="{87BD1F4E-A66D-4C06-86DA-8D56CA7A3B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719" y="0"/>
            <a:ext cx="621428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66783A6-FF3C-438B-B5C0-6C079185E5F4}"/>
              </a:ext>
            </a:extLst>
          </p:cNvPr>
          <p:cNvSpPr>
            <a:spLocks noGrp="1"/>
          </p:cNvSpPr>
          <p:nvPr>
            <p:ph type="sldNum" sz="quarter" idx="12"/>
          </p:nvPr>
        </p:nvSpPr>
        <p:spPr>
          <a:xfrm>
            <a:off x="10529090" y="6041362"/>
            <a:ext cx="683339" cy="365125"/>
          </a:xfrm>
        </p:spPr>
        <p:txBody>
          <a:bodyPr>
            <a:normAutofit/>
          </a:bodyPr>
          <a:lstStyle/>
          <a:p>
            <a:pPr>
              <a:spcAft>
                <a:spcPts val="600"/>
              </a:spcAft>
            </a:pPr>
            <a:fld id="{1024D82B-1252-45EC-8B21-B20462CE42E6}" type="slidenum">
              <a:rPr lang="en-US">
                <a:solidFill>
                  <a:srgbClr val="FFFFFF"/>
                </a:solidFill>
              </a:rPr>
              <a:pPr>
                <a:spcAft>
                  <a:spcPts val="600"/>
                </a:spcAft>
              </a:pPr>
              <a:t>5</a:t>
            </a:fld>
            <a:endParaRPr lang="en-US">
              <a:solidFill>
                <a:srgbClr val="FFFFFF"/>
              </a:solidFill>
            </a:endParaRPr>
          </a:p>
        </p:txBody>
      </p:sp>
      <p:sp>
        <p:nvSpPr>
          <p:cNvPr id="2" name="Title 1">
            <a:extLst>
              <a:ext uri="{FF2B5EF4-FFF2-40B4-BE49-F238E27FC236}">
                <a16:creationId xmlns:a16="http://schemas.microsoft.com/office/drawing/2014/main" id="{E95CE8AD-FED5-4BC9-B926-C50307EC66A7}"/>
              </a:ext>
            </a:extLst>
          </p:cNvPr>
          <p:cNvSpPr>
            <a:spLocks noGrp="1"/>
          </p:cNvSpPr>
          <p:nvPr>
            <p:ph type="title"/>
          </p:nvPr>
        </p:nvSpPr>
        <p:spPr>
          <a:xfrm>
            <a:off x="4801721" y="101010"/>
            <a:ext cx="6905291" cy="843553"/>
          </a:xfrm>
        </p:spPr>
        <p:txBody>
          <a:bodyPr anchor="ctr">
            <a:normAutofit/>
          </a:bodyPr>
          <a:lstStyle/>
          <a:p>
            <a:r>
              <a:rPr lang="en-US" sz="4400" b="1">
                <a:solidFill>
                  <a:schemeClr val="accent2">
                    <a:lumMod val="50000"/>
                  </a:schemeClr>
                </a:solidFill>
              </a:rPr>
              <a:t>Overview of Sessions 1-4</a:t>
            </a:r>
          </a:p>
        </p:txBody>
      </p:sp>
      <p:pic>
        <p:nvPicPr>
          <p:cNvPr id="9" name="Picture 8">
            <a:extLst>
              <a:ext uri="{FF2B5EF4-FFF2-40B4-BE49-F238E27FC236}">
                <a16:creationId xmlns:a16="http://schemas.microsoft.com/office/drawing/2014/main" id="{5F463D0F-7779-48D6-AFCB-5C8A5B2C63C0}"/>
              </a:ext>
            </a:extLst>
          </p:cNvPr>
          <p:cNvPicPr>
            <a:picLocks noChangeAspect="1"/>
          </p:cNvPicPr>
          <p:nvPr/>
        </p:nvPicPr>
        <p:blipFill>
          <a:blip r:embed="rId2"/>
          <a:stretch>
            <a:fillRect/>
          </a:stretch>
        </p:blipFill>
        <p:spPr>
          <a:xfrm rot="20386119">
            <a:off x="266212" y="1394014"/>
            <a:ext cx="3596952" cy="2584928"/>
          </a:xfrm>
          <a:prstGeom prst="rect">
            <a:avLst/>
          </a:prstGeom>
        </p:spPr>
      </p:pic>
      <p:pic>
        <p:nvPicPr>
          <p:cNvPr id="4" name="Picture 3">
            <a:extLst>
              <a:ext uri="{FF2B5EF4-FFF2-40B4-BE49-F238E27FC236}">
                <a16:creationId xmlns:a16="http://schemas.microsoft.com/office/drawing/2014/main" id="{0C8BD119-439B-4110-A9A3-BFA28C26E128}"/>
              </a:ext>
            </a:extLst>
          </p:cNvPr>
          <p:cNvPicPr>
            <a:picLocks noChangeAspect="1"/>
          </p:cNvPicPr>
          <p:nvPr/>
        </p:nvPicPr>
        <p:blipFill>
          <a:blip r:embed="rId3"/>
          <a:stretch>
            <a:fillRect/>
          </a:stretch>
        </p:blipFill>
        <p:spPr>
          <a:xfrm>
            <a:off x="141016" y="4210478"/>
            <a:ext cx="6456224" cy="2554445"/>
          </a:xfrm>
          <a:prstGeom prst="rect">
            <a:avLst/>
          </a:prstGeom>
        </p:spPr>
      </p:pic>
      <p:graphicFrame>
        <p:nvGraphicFramePr>
          <p:cNvPr id="8" name="Content Placeholder 2">
            <a:extLst>
              <a:ext uri="{FF2B5EF4-FFF2-40B4-BE49-F238E27FC236}">
                <a16:creationId xmlns:a16="http://schemas.microsoft.com/office/drawing/2014/main" id="{87CCA43A-1A31-461D-91FC-054EEC4ABE5D}"/>
              </a:ext>
            </a:extLst>
          </p:cNvPr>
          <p:cNvGraphicFramePr>
            <a:graphicFrameLocks noGrp="1"/>
          </p:cNvGraphicFramePr>
          <p:nvPr>
            <p:ph idx="1"/>
            <p:extLst>
              <p:ext uri="{D42A27DB-BD31-4B8C-83A1-F6EECF244321}">
                <p14:modId xmlns:p14="http://schemas.microsoft.com/office/powerpoint/2010/main" val="1786444346"/>
              </p:ext>
            </p:extLst>
          </p:nvPr>
        </p:nvGraphicFramePr>
        <p:xfrm>
          <a:off x="4916553" y="944563"/>
          <a:ext cx="6628804" cy="49795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685199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Rectangle 28">
            <a:extLst>
              <a:ext uri="{FF2B5EF4-FFF2-40B4-BE49-F238E27FC236}">
                <a16:creationId xmlns:a16="http://schemas.microsoft.com/office/drawing/2014/main" id="{655AE6B0-AC9E-4167-806F-E9DB135FC46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95CE8AD-FED5-4BC9-B926-C50307EC66A7}"/>
              </a:ext>
            </a:extLst>
          </p:cNvPr>
          <p:cNvSpPr>
            <a:spLocks noGrp="1"/>
          </p:cNvSpPr>
          <p:nvPr>
            <p:ph type="title"/>
          </p:nvPr>
        </p:nvSpPr>
        <p:spPr>
          <a:xfrm>
            <a:off x="652481" y="1382486"/>
            <a:ext cx="3547581" cy="4093028"/>
          </a:xfrm>
        </p:spPr>
        <p:txBody>
          <a:bodyPr anchor="ctr">
            <a:normAutofit/>
          </a:bodyPr>
          <a:lstStyle/>
          <a:p>
            <a:r>
              <a:rPr lang="en-US" sz="4400" b="1">
                <a:solidFill>
                  <a:schemeClr val="accent2">
                    <a:lumMod val="50000"/>
                  </a:schemeClr>
                </a:solidFill>
              </a:rPr>
              <a:t>Overview of Sessions 5-8</a:t>
            </a:r>
          </a:p>
        </p:txBody>
      </p:sp>
      <p:grpSp>
        <p:nvGrpSpPr>
          <p:cNvPr id="31" name="Group 30">
            <a:extLst>
              <a:ext uri="{FF2B5EF4-FFF2-40B4-BE49-F238E27FC236}">
                <a16:creationId xmlns:a16="http://schemas.microsoft.com/office/drawing/2014/main" id="{3523416A-383B-4FDC-B4C9-D8EDDFE9C04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29267" y="-8467"/>
            <a:ext cx="4766733" cy="6866467"/>
            <a:chOff x="7425267" y="-8467"/>
            <a:chExt cx="4766733" cy="6866467"/>
          </a:xfrm>
        </p:grpSpPr>
        <p:cxnSp>
          <p:nvCxnSpPr>
            <p:cNvPr id="32" name="Straight Connector 31">
              <a:extLst>
                <a:ext uri="{FF2B5EF4-FFF2-40B4-BE49-F238E27FC236}">
                  <a16:creationId xmlns:a16="http://schemas.microsoft.com/office/drawing/2014/main" id="{CB0D29D5-3F7C-4197-821B-6D60A66CC04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a:off x="9371012" y="0"/>
              <a:ext cx="1219200" cy="6858000"/>
            </a:xfrm>
            <a:prstGeom prst="line">
              <a:avLst/>
            </a:prstGeom>
            <a:ln w="9525">
              <a:solidFill>
                <a:srgbClr val="BFBFBF">
                  <a:alpha val="75000"/>
                </a:srgbClr>
              </a:solidFill>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347FB49A-3541-428A-AADE-682A3C50563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7425267" y="3681413"/>
              <a:ext cx="4763558" cy="3176587"/>
            </a:xfrm>
            <a:prstGeom prst="line">
              <a:avLst/>
            </a:prstGeom>
            <a:ln w="9525">
              <a:solidFill>
                <a:srgbClr val="BFBFBF">
                  <a:alpha val="80000"/>
                </a:srgbClr>
              </a:solidFill>
            </a:ln>
          </p:spPr>
          <p:style>
            <a:lnRef idx="2">
              <a:schemeClr val="accent1"/>
            </a:lnRef>
            <a:fillRef idx="0">
              <a:schemeClr val="accent1"/>
            </a:fillRef>
            <a:effectRef idx="1">
              <a:schemeClr val="accent1"/>
            </a:effectRef>
            <a:fontRef idx="minor">
              <a:schemeClr val="tx1"/>
            </a:fontRef>
          </p:style>
        </p:cxnSp>
        <p:sp>
          <p:nvSpPr>
            <p:cNvPr id="34" name="Rectangle 23">
              <a:extLst>
                <a:ext uri="{FF2B5EF4-FFF2-40B4-BE49-F238E27FC236}">
                  <a16:creationId xmlns:a16="http://schemas.microsoft.com/office/drawing/2014/main" id="{D96F53DC-08F1-42C6-B558-B83D54B2766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5" name="Rectangle 25">
              <a:extLst>
                <a:ext uri="{FF2B5EF4-FFF2-40B4-BE49-F238E27FC236}">
                  <a16:creationId xmlns:a16="http://schemas.microsoft.com/office/drawing/2014/main" id="{AFE48CAF-A51C-463F-A570-ED99439A5CA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6" name="Isosceles Triangle 35">
              <a:extLst>
                <a:ext uri="{FF2B5EF4-FFF2-40B4-BE49-F238E27FC236}">
                  <a16:creationId xmlns:a16="http://schemas.microsoft.com/office/drawing/2014/main" id="{01F0C48B-50FF-4351-8207-16D09604831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37" name="Rectangle 27">
              <a:extLst>
                <a:ext uri="{FF2B5EF4-FFF2-40B4-BE49-F238E27FC236}">
                  <a16:creationId xmlns:a16="http://schemas.microsoft.com/office/drawing/2014/main" id="{300384B6-5ED6-4F91-A548-B706D837513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8" name="Rectangle 28">
              <a:extLst>
                <a:ext uri="{FF2B5EF4-FFF2-40B4-BE49-F238E27FC236}">
                  <a16:creationId xmlns:a16="http://schemas.microsoft.com/office/drawing/2014/main" id="{337AFFAE-C182-463C-9459-8AB3C69D9A2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9" name="Rectangle 29">
              <a:extLst>
                <a:ext uri="{FF2B5EF4-FFF2-40B4-BE49-F238E27FC236}">
                  <a16:creationId xmlns:a16="http://schemas.microsoft.com/office/drawing/2014/main" id="{510ACF17-C3F0-42BF-BDEB-D079277121E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40" name="Isosceles Triangle 39">
              <a:extLst>
                <a:ext uri="{FF2B5EF4-FFF2-40B4-BE49-F238E27FC236}">
                  <a16:creationId xmlns:a16="http://schemas.microsoft.com/office/drawing/2014/main" id="{E804EFD0-B84E-476F-9FC6-6C4A42EA005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42" name="Rectangle 41">
            <a:extLst>
              <a:ext uri="{FF2B5EF4-FFF2-40B4-BE49-F238E27FC236}">
                <a16:creationId xmlns:a16="http://schemas.microsoft.com/office/drawing/2014/main" id="{87BD1F4E-A66D-4C06-86DA-8D56CA7A3B4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77719" y="0"/>
            <a:ext cx="621428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266783A6-FF3C-438B-B5C0-6C079185E5F4}"/>
              </a:ext>
            </a:extLst>
          </p:cNvPr>
          <p:cNvSpPr>
            <a:spLocks noGrp="1"/>
          </p:cNvSpPr>
          <p:nvPr>
            <p:ph type="sldNum" sz="quarter" idx="12"/>
          </p:nvPr>
        </p:nvSpPr>
        <p:spPr>
          <a:xfrm>
            <a:off x="10529090" y="6041362"/>
            <a:ext cx="683339" cy="365125"/>
          </a:xfrm>
        </p:spPr>
        <p:txBody>
          <a:bodyPr>
            <a:normAutofit/>
          </a:bodyPr>
          <a:lstStyle/>
          <a:p>
            <a:pPr>
              <a:spcAft>
                <a:spcPts val="600"/>
              </a:spcAft>
            </a:pPr>
            <a:fld id="{1024D82B-1252-45EC-8B21-B20462CE42E6}" type="slidenum">
              <a:rPr lang="en-US">
                <a:solidFill>
                  <a:srgbClr val="FFFFFF"/>
                </a:solidFill>
              </a:rPr>
              <a:pPr>
                <a:spcAft>
                  <a:spcPts val="600"/>
                </a:spcAft>
              </a:pPr>
              <a:t>6</a:t>
            </a:fld>
            <a:endParaRPr lang="en-US">
              <a:solidFill>
                <a:srgbClr val="FFFFFF"/>
              </a:solidFill>
            </a:endParaRPr>
          </a:p>
        </p:txBody>
      </p:sp>
      <p:graphicFrame>
        <p:nvGraphicFramePr>
          <p:cNvPr id="7" name="Content Placeholder 2">
            <a:extLst>
              <a:ext uri="{FF2B5EF4-FFF2-40B4-BE49-F238E27FC236}">
                <a16:creationId xmlns:a16="http://schemas.microsoft.com/office/drawing/2014/main" id="{45E837BD-EF8F-4661-84D0-6124923890B4}"/>
              </a:ext>
            </a:extLst>
          </p:cNvPr>
          <p:cNvGraphicFramePr>
            <a:graphicFrameLocks noGrp="1"/>
          </p:cNvGraphicFramePr>
          <p:nvPr>
            <p:ph idx="1"/>
            <p:extLst>
              <p:ext uri="{D42A27DB-BD31-4B8C-83A1-F6EECF244321}">
                <p14:modId xmlns:p14="http://schemas.microsoft.com/office/powerpoint/2010/main" val="847431482"/>
              </p:ext>
            </p:extLst>
          </p:nvPr>
        </p:nvGraphicFramePr>
        <p:xfrm>
          <a:off x="4916553" y="944563"/>
          <a:ext cx="6628804" cy="49795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38762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638588" y="196312"/>
            <a:ext cx="8596668" cy="610462"/>
          </a:xfrm>
        </p:spPr>
        <p:txBody>
          <a:bodyPr>
            <a:normAutofit fontScale="90000"/>
          </a:bodyPr>
          <a:lstStyle/>
          <a:p>
            <a:r>
              <a:rPr lang="en-US"/>
              <a:t>Voter Registration by CM'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636999" y="730336"/>
            <a:ext cx="8596668" cy="4780491"/>
          </a:xfrm>
        </p:spPr>
        <p:txBody>
          <a:bodyPr vert="horz" lIns="91440" tIns="45720" rIns="91440" bIns="45720" rtlCol="0" anchor="t">
            <a:normAutofit/>
          </a:bodyPr>
          <a:lstStyle/>
          <a:p>
            <a:pPr algn="l" rtl="0" fontAlgn="base">
              <a:buFont typeface="Arial" panose="020B0604020202020204" pitchFamily="34" charset="0"/>
              <a:buChar char="•"/>
            </a:pPr>
            <a:r>
              <a:rPr lang="en-US" sz="1600">
                <a:solidFill>
                  <a:srgbClr val="000000"/>
                </a:solidFill>
                <a:latin typeface="Calibri"/>
                <a:cs typeface="Calibri"/>
              </a:rPr>
              <a:t>D</a:t>
            </a:r>
            <a:r>
              <a:rPr lang="en-US" sz="1600" b="0" i="0">
                <a:solidFill>
                  <a:srgbClr val="000000"/>
                </a:solidFill>
                <a:effectLst/>
                <a:latin typeface="Calibri"/>
                <a:cs typeface="Calibri"/>
              </a:rPr>
              <a:t>o </a:t>
            </a:r>
            <a:r>
              <a:rPr lang="en-US" sz="1600">
                <a:solidFill>
                  <a:srgbClr val="000000"/>
                </a:solidFill>
                <a:latin typeface="Calibri"/>
                <a:cs typeface="Calibri"/>
              </a:rPr>
              <a:t>CMs</a:t>
            </a:r>
            <a:r>
              <a:rPr lang="en-US" sz="1600" b="0" i="0">
                <a:solidFill>
                  <a:srgbClr val="000000"/>
                </a:solidFill>
                <a:effectLst/>
                <a:latin typeface="Calibri"/>
                <a:cs typeface="Calibri"/>
              </a:rPr>
              <a:t> need to cover Voter Registration? </a:t>
            </a:r>
          </a:p>
          <a:p>
            <a:pPr lvl="1" algn="l" rtl="0" fontAlgn="base">
              <a:buFont typeface="Arial" panose="020B0604020202020204" pitchFamily="34" charset="0"/>
              <a:buChar char="•"/>
            </a:pPr>
            <a:r>
              <a:rPr lang="en-US" b="0" i="0">
                <a:solidFill>
                  <a:srgbClr val="000000"/>
                </a:solidFill>
                <a:effectLst/>
                <a:latin typeface="Calibri"/>
                <a:cs typeface="Calibri"/>
              </a:rPr>
              <a:t>Any action by the CM </a:t>
            </a:r>
            <a:r>
              <a:rPr lang="en-US">
                <a:solidFill>
                  <a:srgbClr val="000000"/>
                </a:solidFill>
                <a:latin typeface="Calibri"/>
                <a:cs typeface="Calibri"/>
              </a:rPr>
              <a:t>outside</a:t>
            </a:r>
            <a:r>
              <a:rPr lang="en-US" b="0" i="0">
                <a:solidFill>
                  <a:srgbClr val="000000"/>
                </a:solidFill>
                <a:effectLst/>
                <a:latin typeface="Calibri"/>
                <a:cs typeface="Calibri"/>
              </a:rPr>
              <a:t> of the eligibility process which is a qualifying event for NVRA is still the responsibility of the CM. </a:t>
            </a:r>
          </a:p>
          <a:p>
            <a:pPr lvl="1" algn="l" rtl="0" fontAlgn="base">
              <a:buFont typeface="Arial" panose="020B0604020202020204" pitchFamily="34" charset="0"/>
              <a:buChar char="•"/>
            </a:pPr>
            <a:r>
              <a:rPr lang="en-US" b="0" i="0">
                <a:solidFill>
                  <a:srgbClr val="000000"/>
                </a:solidFill>
                <a:effectLst/>
                <a:latin typeface="Calibri"/>
                <a:cs typeface="Calibri"/>
              </a:rPr>
              <a:t>CMs are responsible for NVRA actions when they complete a reassessment mid-cert or accept any change of mailing or residence address. </a:t>
            </a:r>
          </a:p>
          <a:p>
            <a:pPr lvl="1" algn="l" rtl="0" fontAlgn="base">
              <a:buFont typeface="Arial" panose="020B0604020202020204" pitchFamily="34" charset="0"/>
              <a:buChar char="•"/>
            </a:pPr>
            <a:r>
              <a:rPr lang="en-US" b="0" i="0">
                <a:solidFill>
                  <a:srgbClr val="000000"/>
                </a:solidFill>
                <a:effectLst/>
                <a:latin typeface="Calibri"/>
                <a:cs typeface="Calibri"/>
              </a:rPr>
              <a:t>The do not have to ask about NVRA as part of the cert/recert process, which is the bulk of the qualifying events, but the rest is </a:t>
            </a:r>
            <a:r>
              <a:rPr lang="en-US">
                <a:solidFill>
                  <a:srgbClr val="000000"/>
                </a:solidFill>
                <a:latin typeface="Calibri"/>
                <a:cs typeface="Calibri"/>
              </a:rPr>
              <a:t>within</a:t>
            </a:r>
            <a:r>
              <a:rPr lang="en-US" b="0" i="0">
                <a:solidFill>
                  <a:srgbClr val="000000"/>
                </a:solidFill>
                <a:effectLst/>
                <a:latin typeface="Calibri"/>
                <a:cs typeface="Calibri"/>
              </a:rPr>
              <a:t> their responsibility. </a:t>
            </a:r>
          </a:p>
          <a:p>
            <a:pPr algn="l" rtl="0" fontAlgn="base">
              <a:buFont typeface="Arial" panose="020B0604020202020204" pitchFamily="34" charset="0"/>
              <a:buChar char="•"/>
            </a:pPr>
            <a:endParaRPr lang="en-US" sz="1800" b="0" i="0">
              <a:solidFill>
                <a:srgbClr val="000000"/>
              </a:solidFill>
              <a:effectLst/>
              <a:latin typeface="Calibri" panose="020F0502020204030204" pitchFamily="34" charset="0"/>
              <a:cs typeface="Calibri"/>
            </a:endParaRPr>
          </a:p>
          <a:p>
            <a:endParaRPr lang="en-US"/>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7</a:t>
            </a:fld>
            <a:endParaRPr lang="en-US"/>
          </a:p>
        </p:txBody>
      </p:sp>
      <p:sp>
        <p:nvSpPr>
          <p:cNvPr id="6" name="Content Placeholder 3">
            <a:extLst>
              <a:ext uri="{FF2B5EF4-FFF2-40B4-BE49-F238E27FC236}">
                <a16:creationId xmlns:a16="http://schemas.microsoft.com/office/drawing/2014/main" id="{CC714093-B8CD-4E30-8DC4-A44A747B2B27}"/>
              </a:ext>
            </a:extLst>
          </p:cNvPr>
          <p:cNvSpPr>
            <a:spLocks noGrp="1"/>
          </p:cNvSpPr>
          <p:nvPr/>
        </p:nvSpPr>
        <p:spPr>
          <a:xfrm>
            <a:off x="553621" y="3425146"/>
            <a:ext cx="8917509" cy="3429531"/>
          </a:xfrm>
          <a:prstGeom prst="rect">
            <a:avLst/>
          </a:prstGeom>
        </p:spPr>
        <p:txBody>
          <a:bodyPr vert="horz" lIns="91440" tIns="45720" rIns="91440" bIns="45720" rtlCol="0" anchor="t">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fontAlgn="base">
              <a:buFont typeface="Arial" panose="020B0604020202020204" pitchFamily="34" charset="0"/>
              <a:buChar char="•"/>
            </a:pPr>
            <a:r>
              <a:rPr lang="en-US" sz="1600">
                <a:solidFill>
                  <a:srgbClr val="000000"/>
                </a:solidFill>
                <a:latin typeface="Calibri"/>
                <a:cs typeface="Calibri"/>
              </a:rPr>
              <a:t>Clarification – We should not</a:t>
            </a:r>
            <a:r>
              <a:rPr lang="en-US" sz="1600" b="0" i="0">
                <a:solidFill>
                  <a:srgbClr val="000000"/>
                </a:solidFill>
                <a:effectLst/>
                <a:latin typeface="Calibri"/>
                <a:cs typeface="Calibri"/>
              </a:rPr>
              <a:t> </a:t>
            </a:r>
            <a:r>
              <a:rPr lang="en-US" sz="1600">
                <a:solidFill>
                  <a:srgbClr val="000000"/>
                </a:solidFill>
                <a:latin typeface="Calibri"/>
                <a:cs typeface="Calibri"/>
              </a:rPr>
              <a:t>align</a:t>
            </a:r>
            <a:r>
              <a:rPr lang="en-US" sz="1600" b="0" i="0">
                <a:solidFill>
                  <a:srgbClr val="000000"/>
                </a:solidFill>
                <a:effectLst/>
                <a:latin typeface="Calibri"/>
                <a:cs typeface="Calibri"/>
              </a:rPr>
              <a:t> the SELG review date with the financial renewal date</a:t>
            </a:r>
            <a:r>
              <a:rPr lang="en-US" sz="1600">
                <a:solidFill>
                  <a:srgbClr val="000000"/>
                </a:solidFill>
                <a:latin typeface="Calibri"/>
                <a:cs typeface="Calibri"/>
              </a:rPr>
              <a:t> .  ONE will actually "</a:t>
            </a:r>
            <a:r>
              <a:rPr lang="en-US" sz="1600" err="1">
                <a:solidFill>
                  <a:srgbClr val="000000"/>
                </a:solidFill>
                <a:latin typeface="Calibri"/>
                <a:cs typeface="Calibri"/>
              </a:rPr>
              <a:t>unalign</a:t>
            </a:r>
            <a:r>
              <a:rPr lang="en-US" sz="1600">
                <a:solidFill>
                  <a:srgbClr val="000000"/>
                </a:solidFill>
                <a:latin typeface="Calibri"/>
                <a:cs typeface="Calibri"/>
              </a:rPr>
              <a:t>" the renewal dates if you attempt to do so.</a:t>
            </a:r>
            <a:endParaRPr lang="en-US" sz="1600">
              <a:latin typeface="Calibri"/>
              <a:cs typeface="Calibri"/>
            </a:endParaRPr>
          </a:p>
          <a:p>
            <a:pPr fontAlgn="base">
              <a:buFont typeface="Arial" panose="020B0604020202020204" pitchFamily="34" charset="0"/>
              <a:buChar char="•"/>
            </a:pPr>
            <a:r>
              <a:rPr lang="en-US" sz="1600" b="0" i="0">
                <a:solidFill>
                  <a:srgbClr val="000000"/>
                </a:solidFill>
                <a:effectLst/>
                <a:latin typeface="Calibri"/>
                <a:cs typeface="Calibri"/>
              </a:rPr>
              <a:t>Impacts to OPI</a:t>
            </a:r>
            <a:r>
              <a:rPr lang="en-US" sz="1600">
                <a:solidFill>
                  <a:srgbClr val="000000"/>
                </a:solidFill>
                <a:latin typeface="Calibri"/>
                <a:cs typeface="Calibri"/>
              </a:rPr>
              <a:t> – It is business process for workers to let Oregonians know if they are eligible for both OHP Plus and OPI that they should work with their Case Manager to pick which program they would like to receive?  </a:t>
            </a:r>
          </a:p>
          <a:p>
            <a:pPr lvl="1">
              <a:buFont typeface="Wingdings" panose="020B0604020202020204" pitchFamily="34" charset="0"/>
              <a:buChar char="Ø"/>
            </a:pPr>
            <a:r>
              <a:rPr lang="en-US">
                <a:solidFill>
                  <a:srgbClr val="000000"/>
                </a:solidFill>
                <a:latin typeface="Calibri"/>
                <a:cs typeface="Calibri"/>
              </a:rPr>
              <a:t>CMs should work with individuals to assist them with choosing which program they would like to pursue and provide the as much info as we can so they're not blindsided later in the process.  </a:t>
            </a:r>
          </a:p>
          <a:p>
            <a:pPr>
              <a:buFont typeface="Arial" panose="020B0604020202020204" pitchFamily="34" charset="0"/>
              <a:buChar char="•"/>
            </a:pPr>
            <a:r>
              <a:rPr lang="en-US" sz="1600">
                <a:solidFill>
                  <a:srgbClr val="000000"/>
                </a:solidFill>
                <a:latin typeface="Calibri"/>
                <a:cs typeface="Calibri"/>
              </a:rPr>
              <a:t>Updates</a:t>
            </a:r>
            <a:r>
              <a:rPr lang="en-US" sz="1600" b="0" i="0">
                <a:solidFill>
                  <a:srgbClr val="000000"/>
                </a:solidFill>
                <a:effectLst/>
                <a:latin typeface="Calibri"/>
                <a:cs typeface="Calibri"/>
              </a:rPr>
              <a:t> to SELG, do I need to tell EW to run EDBC? </a:t>
            </a:r>
            <a:endParaRPr lang="en-US"/>
          </a:p>
          <a:p>
            <a:pPr lvl="1" fontAlgn="base">
              <a:buFont typeface="Wingdings" panose="020B0604020202020204" pitchFamily="34" charset="0"/>
              <a:buChar char="Ø"/>
            </a:pPr>
            <a:r>
              <a:rPr lang="en-US">
                <a:solidFill>
                  <a:srgbClr val="000000"/>
                </a:solidFill>
                <a:latin typeface="Calibri"/>
                <a:cs typeface="Calibri"/>
              </a:rPr>
              <a:t>No, you do not. There</a:t>
            </a:r>
            <a:r>
              <a:rPr lang="en-US" b="0" i="0">
                <a:solidFill>
                  <a:srgbClr val="000000"/>
                </a:solidFill>
                <a:effectLst/>
                <a:latin typeface="Calibri"/>
                <a:cs typeface="Calibri"/>
              </a:rPr>
              <a:t> is a task </a:t>
            </a:r>
            <a:r>
              <a:rPr lang="en-US">
                <a:solidFill>
                  <a:srgbClr val="000000"/>
                </a:solidFill>
                <a:latin typeface="Calibri"/>
                <a:cs typeface="Calibri"/>
              </a:rPr>
              <a:t>(SELG Update Received) if</a:t>
            </a:r>
            <a:r>
              <a:rPr lang="en-US" b="0" i="0">
                <a:solidFill>
                  <a:srgbClr val="000000"/>
                </a:solidFill>
                <a:effectLst/>
                <a:latin typeface="Calibri"/>
                <a:cs typeface="Calibri"/>
              </a:rPr>
              <a:t> </a:t>
            </a:r>
            <a:r>
              <a:rPr lang="en-US">
                <a:solidFill>
                  <a:srgbClr val="000000"/>
                </a:solidFill>
                <a:latin typeface="Calibri"/>
                <a:cs typeface="Calibri"/>
              </a:rPr>
              <a:t>ONE</a:t>
            </a:r>
            <a:r>
              <a:rPr lang="en-US" b="0" i="0">
                <a:solidFill>
                  <a:srgbClr val="000000"/>
                </a:solidFill>
                <a:effectLst/>
                <a:latin typeface="Calibri"/>
                <a:cs typeface="Calibri"/>
              </a:rPr>
              <a:t> cannot </a:t>
            </a:r>
            <a:r>
              <a:rPr lang="en-US">
                <a:solidFill>
                  <a:srgbClr val="000000"/>
                </a:solidFill>
                <a:latin typeface="Calibri"/>
                <a:cs typeface="Calibri"/>
              </a:rPr>
              <a:t>act on the SELG change systematically. </a:t>
            </a:r>
            <a:r>
              <a:rPr lang="en-US" b="0" i="0">
                <a:solidFill>
                  <a:srgbClr val="000000"/>
                </a:solidFill>
                <a:effectLst/>
                <a:latin typeface="Calibri"/>
                <a:cs typeface="Calibri"/>
              </a:rPr>
              <a:t> </a:t>
            </a:r>
            <a:r>
              <a:rPr lang="en-US">
                <a:solidFill>
                  <a:srgbClr val="000000"/>
                </a:solidFill>
                <a:latin typeface="Calibri"/>
                <a:cs typeface="Calibri"/>
              </a:rPr>
              <a:t>However,</a:t>
            </a:r>
            <a:r>
              <a:rPr lang="en-US" b="0" i="0">
                <a:solidFill>
                  <a:srgbClr val="000000"/>
                </a:solidFill>
                <a:effectLst/>
                <a:latin typeface="Calibri"/>
                <a:cs typeface="Calibri"/>
              </a:rPr>
              <a:t> for urgent requests and payment issues you might need to follow local processes </a:t>
            </a:r>
            <a:endParaRPr lang="en-US">
              <a:latin typeface="Calibri"/>
              <a:cs typeface="Calibri"/>
            </a:endParaRPr>
          </a:p>
          <a:p>
            <a:pPr algn="l" rtl="0"/>
            <a:endParaRPr lang="en-US"/>
          </a:p>
        </p:txBody>
      </p:sp>
      <p:sp>
        <p:nvSpPr>
          <p:cNvPr id="7" name="Title 1">
            <a:extLst>
              <a:ext uri="{FF2B5EF4-FFF2-40B4-BE49-F238E27FC236}">
                <a16:creationId xmlns:a16="http://schemas.microsoft.com/office/drawing/2014/main" id="{CB998736-3984-430C-AA27-574CF0EE1095}"/>
              </a:ext>
            </a:extLst>
          </p:cNvPr>
          <p:cNvSpPr>
            <a:spLocks noGrp="1"/>
          </p:cNvSpPr>
          <p:nvPr/>
        </p:nvSpPr>
        <p:spPr>
          <a:xfrm>
            <a:off x="509436" y="2843751"/>
            <a:ext cx="8596668" cy="548775"/>
          </a:xfrm>
          <a:prstGeom prst="rect">
            <a:avLst/>
          </a:prstGeom>
        </p:spPr>
        <p:txBody>
          <a:bodyPr vert="horz" lIns="91440" tIns="45720" rIns="91440" bIns="45720" rtlCol="0" anchor="t">
            <a:normAutofit fontScale="92500" lnSpcReduction="10000"/>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t>SELG Reminders</a:t>
            </a:r>
          </a:p>
        </p:txBody>
      </p:sp>
    </p:spTree>
    <p:extLst>
      <p:ext uri="{BB962C8B-B14F-4D97-AF65-F5344CB8AC3E}">
        <p14:creationId xmlns:p14="http://schemas.microsoft.com/office/powerpoint/2010/main" val="61997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470834" y="998775"/>
            <a:ext cx="3985414" cy="796637"/>
          </a:xfrm>
        </p:spPr>
        <p:txBody>
          <a:bodyPr>
            <a:normAutofit/>
          </a:bodyPr>
          <a:lstStyle/>
          <a:p>
            <a:r>
              <a:rPr lang="en-US" sz="4400"/>
              <a:t>CSIA and 457D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470834" y="3767810"/>
            <a:ext cx="8596668" cy="2489734"/>
          </a:xfrm>
          <a:gradFill flip="none" rotWithShape="1">
            <a:gsLst>
              <a:gs pos="0">
                <a:schemeClr val="accent1">
                  <a:lumMod val="40000"/>
                  <a:lumOff val="60000"/>
                </a:schemeClr>
              </a:gs>
              <a:gs pos="96000">
                <a:schemeClr val="accent1">
                  <a:lumMod val="95000"/>
                  <a:lumOff val="5000"/>
                </a:schemeClr>
              </a:gs>
              <a:gs pos="100000">
                <a:schemeClr val="accent1">
                  <a:lumMod val="60000"/>
                </a:schemeClr>
              </a:gs>
            </a:gsLst>
            <a:path path="circle">
              <a:fillToRect l="50000" t="130000" r="50000" b="-30000"/>
            </a:path>
            <a:tileRect/>
          </a:gradFill>
          <a:ln w="28575">
            <a:solidFill>
              <a:schemeClr val="accent2">
                <a:lumMod val="50000"/>
              </a:schemeClr>
            </a:solidFill>
          </a:ln>
        </p:spPr>
        <p:txBody>
          <a:bodyPr vert="horz" lIns="91440" tIns="45720" rIns="91440" bIns="45720" rtlCol="0" anchor="t">
            <a:normAutofit/>
          </a:bodyPr>
          <a:lstStyle/>
          <a:p>
            <a:pPr marL="0" indent="0">
              <a:buNone/>
            </a:pPr>
            <a:r>
              <a:rPr lang="en-US">
                <a:solidFill>
                  <a:srgbClr val="000000"/>
                </a:solidFill>
                <a:latin typeface="Calibri"/>
                <a:cs typeface="Calibri"/>
              </a:rPr>
              <a:t>Withdrawing a LTC Request:</a:t>
            </a:r>
          </a:p>
          <a:p>
            <a:pPr marL="0" indent="0">
              <a:buNone/>
            </a:pPr>
            <a:r>
              <a:rPr lang="en-US">
                <a:solidFill>
                  <a:srgbClr val="000000"/>
                </a:solidFill>
                <a:latin typeface="Calibri"/>
                <a:cs typeface="Calibri"/>
              </a:rPr>
              <a:t>OAR 461-175-0340 says that </a:t>
            </a:r>
            <a:r>
              <a:rPr lang="en-US" b="0" i="0">
                <a:solidFill>
                  <a:srgbClr val="000000"/>
                </a:solidFill>
                <a:effectLst/>
                <a:latin typeface="Calibri"/>
                <a:cs typeface="Calibri"/>
              </a:rPr>
              <a:t>a </a:t>
            </a:r>
            <a:r>
              <a:rPr lang="en-US">
                <a:solidFill>
                  <a:srgbClr val="000000"/>
                </a:solidFill>
                <a:latin typeface="Calibri"/>
                <a:cs typeface="Calibri"/>
              </a:rPr>
              <a:t>basic decision notice </a:t>
            </a:r>
            <a:r>
              <a:rPr lang="en-US" b="0" i="0">
                <a:solidFill>
                  <a:srgbClr val="000000"/>
                </a:solidFill>
                <a:effectLst/>
                <a:latin typeface="Calibri"/>
                <a:cs typeface="Calibri"/>
              </a:rPr>
              <a:t>is </a:t>
            </a:r>
            <a:r>
              <a:rPr lang="en-US">
                <a:solidFill>
                  <a:srgbClr val="000000"/>
                </a:solidFill>
                <a:latin typeface="Calibri"/>
                <a:cs typeface="Calibri"/>
              </a:rPr>
              <a:t>required </a:t>
            </a:r>
            <a:r>
              <a:rPr lang="en-US" b="0" i="0">
                <a:solidFill>
                  <a:srgbClr val="000000"/>
                </a:solidFill>
                <a:effectLst/>
                <a:latin typeface="Calibri"/>
                <a:cs typeface="Calibri"/>
              </a:rPr>
              <a:t>when a </a:t>
            </a:r>
            <a:r>
              <a:rPr lang="en-US">
                <a:solidFill>
                  <a:srgbClr val="000000"/>
                </a:solidFill>
                <a:latin typeface="Calibri"/>
                <a:cs typeface="Calibri"/>
              </a:rPr>
              <a:t>request to withdraw an application is received (whether orally </a:t>
            </a:r>
            <a:r>
              <a:rPr lang="en-US" b="0" i="0">
                <a:solidFill>
                  <a:srgbClr val="000000"/>
                </a:solidFill>
                <a:effectLst/>
                <a:latin typeface="Calibri"/>
                <a:cs typeface="Calibri"/>
              </a:rPr>
              <a:t>or </a:t>
            </a:r>
            <a:r>
              <a:rPr lang="en-US">
                <a:solidFill>
                  <a:srgbClr val="000000"/>
                </a:solidFill>
                <a:latin typeface="Calibri"/>
                <a:cs typeface="Calibri"/>
              </a:rPr>
              <a:t>in writing). A completed and signed 457D serves </a:t>
            </a:r>
            <a:r>
              <a:rPr lang="en-US" b="0" i="0">
                <a:solidFill>
                  <a:srgbClr val="000000"/>
                </a:solidFill>
                <a:effectLst/>
                <a:latin typeface="Calibri"/>
                <a:cs typeface="Calibri"/>
              </a:rPr>
              <a:t>as the </a:t>
            </a:r>
            <a:r>
              <a:rPr lang="en-US">
                <a:solidFill>
                  <a:srgbClr val="000000"/>
                </a:solidFill>
                <a:latin typeface="Calibri"/>
                <a:cs typeface="Calibri"/>
              </a:rPr>
              <a:t>basic decision notice; however</a:t>
            </a:r>
            <a:r>
              <a:rPr lang="en-US" b="0" i="0">
                <a:solidFill>
                  <a:srgbClr val="000000"/>
                </a:solidFill>
                <a:effectLst/>
                <a:latin typeface="Calibri"/>
                <a:cs typeface="Calibri"/>
              </a:rPr>
              <a:t>, </a:t>
            </a:r>
            <a:r>
              <a:rPr lang="en-US">
                <a:solidFill>
                  <a:srgbClr val="000000"/>
                </a:solidFill>
                <a:latin typeface="Calibri"/>
                <a:cs typeface="Calibri"/>
              </a:rPr>
              <a:t>it </a:t>
            </a:r>
            <a:r>
              <a:rPr lang="en-US" b="0" i="0">
                <a:solidFill>
                  <a:srgbClr val="000000"/>
                </a:solidFill>
                <a:effectLst/>
                <a:latin typeface="Calibri"/>
                <a:cs typeface="Calibri"/>
              </a:rPr>
              <a:t>is </a:t>
            </a:r>
            <a:r>
              <a:rPr lang="en-US">
                <a:solidFill>
                  <a:srgbClr val="000000"/>
                </a:solidFill>
                <a:latin typeface="Calibri"/>
                <a:cs typeface="Calibri"/>
              </a:rPr>
              <a:t>not required. </a:t>
            </a:r>
          </a:p>
          <a:p>
            <a:pPr marL="0" indent="0">
              <a:buNone/>
            </a:pPr>
            <a:r>
              <a:rPr lang="en-US">
                <a:solidFill>
                  <a:srgbClr val="000000"/>
                </a:solidFill>
                <a:latin typeface="Calibri"/>
                <a:cs typeface="Calibri"/>
              </a:rPr>
              <a:t>That said</a:t>
            </a:r>
            <a:r>
              <a:rPr lang="en-US" b="0" i="0">
                <a:solidFill>
                  <a:srgbClr val="000000"/>
                </a:solidFill>
                <a:effectLst/>
                <a:latin typeface="Calibri"/>
                <a:cs typeface="Calibri"/>
              </a:rPr>
              <a:t>,</a:t>
            </a:r>
            <a:r>
              <a:rPr lang="en-US">
                <a:solidFill>
                  <a:srgbClr val="000000"/>
                </a:solidFill>
                <a:latin typeface="Calibri"/>
                <a:cs typeface="Calibri"/>
              </a:rPr>
              <a:t> LTC Policy has requested that CMs get a signed 457D when an assessment has been completed (as a best practice).</a:t>
            </a:r>
            <a:r>
              <a:rPr lang="en-US" b="0" i="0">
                <a:solidFill>
                  <a:srgbClr val="000000"/>
                </a:solidFill>
                <a:effectLst/>
                <a:latin typeface="Calibri"/>
                <a:cs typeface="Calibri"/>
              </a:rPr>
              <a:t> </a:t>
            </a:r>
            <a:endParaRPr lang="en-US"/>
          </a:p>
          <a:p>
            <a:pPr algn="l" rtl="0" fontAlgn="base">
              <a:buFont typeface="Arial" panose="020B0604020202020204" pitchFamily="34" charset="0"/>
              <a:buChar char="•"/>
            </a:pPr>
            <a:endParaRPr lang="en-US" sz="1800" b="0" i="0">
              <a:solidFill>
                <a:srgbClr val="000000"/>
              </a:solidFill>
              <a:effectLst/>
              <a:latin typeface="Calibri" panose="020F0502020204030204" pitchFamily="34" charset="0"/>
              <a:cs typeface="Calibri"/>
            </a:endParaRPr>
          </a:p>
          <a:p>
            <a:endParaRPr lang="en-US"/>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8</a:t>
            </a:fld>
            <a:endParaRPr lang="en-US"/>
          </a:p>
        </p:txBody>
      </p:sp>
      <p:graphicFrame>
        <p:nvGraphicFramePr>
          <p:cNvPr id="5" name="Table 4">
            <a:extLst>
              <a:ext uri="{FF2B5EF4-FFF2-40B4-BE49-F238E27FC236}">
                <a16:creationId xmlns:a16="http://schemas.microsoft.com/office/drawing/2014/main" id="{AE42A037-2B31-4D9A-8587-8E4234A1B548}"/>
              </a:ext>
            </a:extLst>
          </p:cNvPr>
          <p:cNvGraphicFramePr>
            <a:graphicFrameLocks noGrp="1"/>
          </p:cNvGraphicFramePr>
          <p:nvPr>
            <p:extLst>
              <p:ext uri="{D42A27DB-BD31-4B8C-83A1-F6EECF244321}">
                <p14:modId xmlns:p14="http://schemas.microsoft.com/office/powerpoint/2010/main" val="3725447886"/>
              </p:ext>
            </p:extLst>
          </p:nvPr>
        </p:nvGraphicFramePr>
        <p:xfrm>
          <a:off x="4662748" y="600456"/>
          <a:ext cx="6851918" cy="796636"/>
        </p:xfrm>
        <a:graphic>
          <a:graphicData uri="http://schemas.openxmlformats.org/drawingml/2006/table">
            <a:tbl>
              <a:tblPr firstRow="1" bandRow="1">
                <a:tableStyleId>{5C22544A-7EE6-4342-B048-85BDC9FD1C3A}</a:tableStyleId>
              </a:tblPr>
              <a:tblGrid>
                <a:gridCol w="1158297">
                  <a:extLst>
                    <a:ext uri="{9D8B030D-6E8A-4147-A177-3AD203B41FA5}">
                      <a16:colId xmlns:a16="http://schemas.microsoft.com/office/drawing/2014/main" val="738359527"/>
                    </a:ext>
                  </a:extLst>
                </a:gridCol>
                <a:gridCol w="5693621">
                  <a:extLst>
                    <a:ext uri="{9D8B030D-6E8A-4147-A177-3AD203B41FA5}">
                      <a16:colId xmlns:a16="http://schemas.microsoft.com/office/drawing/2014/main" val="2763341965"/>
                    </a:ext>
                  </a:extLst>
                </a:gridCol>
              </a:tblGrid>
              <a:tr h="796636">
                <a:tc>
                  <a:txBody>
                    <a:bodyPr/>
                    <a:lstStyle/>
                    <a:p>
                      <a:pPr algn="ctr"/>
                      <a:r>
                        <a:rPr lang="en-US" u="sng">
                          <a:solidFill>
                            <a:schemeClr val="accent2">
                              <a:lumMod val="50000"/>
                            </a:schemeClr>
                          </a:solidFill>
                          <a:effectLst/>
                          <a:hlinkClick r:id="rId3" tooltip="https://dhsoha.sharepoint.com/teams/Hub-DHS-ET/Known%20Issues%20%20Interim%20Business%20Processes/Forms/AllItems.aspx?id=%2Fteams%2FHub%2DDHS%2DET%2FKnown%20Issues%20%20Interim%20Business%20Processes%2FIBPs%2FIBP%20%2D%2020%2D111%2Epdf&amp;parent=%2Fteams%2FHub%2DDHS%2DET%2FKnown%20Issues%20%20Interim%20Business%20Processes%2FIBPs">
                            <a:extLst>
                              <a:ext uri="{A12FA001-AC4F-418D-AE19-62706E023703}">
                                <ahyp:hlinkClr xmlns:ahyp="http://schemas.microsoft.com/office/drawing/2018/hyperlinkcolor" val="tx"/>
                              </a:ext>
                            </a:extLst>
                          </a:hlinkClick>
                        </a:rPr>
                        <a:t>20-111</a:t>
                      </a:r>
                      <a:endParaRPr lang="en-US" b="0">
                        <a:solidFill>
                          <a:schemeClr val="accent2">
                            <a:lumMod val="50000"/>
                          </a:schemeClr>
                        </a:solidFill>
                        <a:effectLst/>
                      </a:endParaRPr>
                    </a:p>
                  </a:txBody>
                  <a:tcPr marL="76200" marR="152400" marT="76200" marB="76200" anchor="ctr"/>
                </a:tc>
                <a:tc>
                  <a:txBody>
                    <a:bodyPr/>
                    <a:lstStyle/>
                    <a:p>
                      <a:r>
                        <a:rPr lang="en-US">
                          <a:effectLst/>
                        </a:rPr>
                        <a:t>Community Spouse Income Allowance (CSIA) not being correctly deducted from Patient Liability</a:t>
                      </a:r>
                      <a:endParaRPr lang="en-US" b="0">
                        <a:solidFill>
                          <a:srgbClr val="323130"/>
                        </a:solidFill>
                        <a:effectLst/>
                      </a:endParaRPr>
                    </a:p>
                  </a:txBody>
                  <a:tcPr marL="76200" marR="152400" marT="76200" marB="76200" anchor="ctr"/>
                </a:tc>
                <a:extLst>
                  <a:ext uri="{0D108BD9-81ED-4DB2-BD59-A6C34878D82A}">
                    <a16:rowId xmlns:a16="http://schemas.microsoft.com/office/drawing/2014/main" val="2995052267"/>
                  </a:ext>
                </a:extLst>
              </a:tr>
            </a:tbl>
          </a:graphicData>
        </a:graphic>
      </p:graphicFrame>
      <p:pic>
        <p:nvPicPr>
          <p:cNvPr id="3" name="Picture 2">
            <a:extLst>
              <a:ext uri="{FF2B5EF4-FFF2-40B4-BE49-F238E27FC236}">
                <a16:creationId xmlns:a16="http://schemas.microsoft.com/office/drawing/2014/main" id="{5DCAF4CE-405B-4654-8861-10FCD71E9EEE}"/>
              </a:ext>
            </a:extLst>
          </p:cNvPr>
          <p:cNvPicPr>
            <a:picLocks noChangeAspect="1"/>
          </p:cNvPicPr>
          <p:nvPr/>
        </p:nvPicPr>
        <p:blipFill>
          <a:blip r:embed="rId4"/>
          <a:stretch>
            <a:fillRect/>
          </a:stretch>
        </p:blipFill>
        <p:spPr>
          <a:xfrm>
            <a:off x="3447611" y="2057400"/>
            <a:ext cx="6010275" cy="13716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Arrow: Down 5">
            <a:extLst>
              <a:ext uri="{FF2B5EF4-FFF2-40B4-BE49-F238E27FC236}">
                <a16:creationId xmlns:a16="http://schemas.microsoft.com/office/drawing/2014/main" id="{F3EF2178-19EB-4883-A26A-238853C4619A}"/>
              </a:ext>
            </a:extLst>
          </p:cNvPr>
          <p:cNvSpPr/>
          <p:nvPr/>
        </p:nvSpPr>
        <p:spPr>
          <a:xfrm rot="2771864">
            <a:off x="5960577" y="1379054"/>
            <a:ext cx="381000" cy="701299"/>
          </a:xfrm>
          <a:prstGeom prst="down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4495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ED6A1-6251-45E1-8AFD-D853CB82205D}"/>
              </a:ext>
            </a:extLst>
          </p:cNvPr>
          <p:cNvSpPr>
            <a:spLocks noGrp="1"/>
          </p:cNvSpPr>
          <p:nvPr>
            <p:ph type="title"/>
          </p:nvPr>
        </p:nvSpPr>
        <p:spPr>
          <a:xfrm>
            <a:off x="677334" y="609600"/>
            <a:ext cx="8596668" cy="630238"/>
          </a:xfrm>
        </p:spPr>
        <p:txBody>
          <a:bodyPr>
            <a:normAutofit fontScale="90000"/>
          </a:bodyPr>
          <a:lstStyle/>
          <a:p>
            <a:r>
              <a:rPr lang="en-US"/>
              <a:t>Recent Changes: NF/PIF and ISS changes</a:t>
            </a:r>
          </a:p>
        </p:txBody>
      </p:sp>
      <p:sp>
        <p:nvSpPr>
          <p:cNvPr id="4" name="Content Placeholder 3">
            <a:extLst>
              <a:ext uri="{FF2B5EF4-FFF2-40B4-BE49-F238E27FC236}">
                <a16:creationId xmlns:a16="http://schemas.microsoft.com/office/drawing/2014/main" id="{3F3201C8-D7FF-48D2-932A-37521AB59148}"/>
              </a:ext>
            </a:extLst>
          </p:cNvPr>
          <p:cNvSpPr>
            <a:spLocks noGrp="1"/>
          </p:cNvSpPr>
          <p:nvPr>
            <p:ph sz="half" idx="2"/>
          </p:nvPr>
        </p:nvSpPr>
        <p:spPr>
          <a:xfrm>
            <a:off x="675745" y="1237057"/>
            <a:ext cx="8596668" cy="5018616"/>
          </a:xfrm>
        </p:spPr>
        <p:txBody>
          <a:bodyPr vert="horz" lIns="91440" tIns="45720" rIns="91440" bIns="45720" rtlCol="0" anchor="t">
            <a:normAutofit fontScale="92500"/>
          </a:bodyPr>
          <a:lstStyle/>
          <a:p>
            <a:pPr marL="0" indent="0" fontAlgn="base">
              <a:buNone/>
            </a:pPr>
            <a:r>
              <a:rPr lang="en-US" sz="1700">
                <a:solidFill>
                  <a:srgbClr val="000000"/>
                </a:solidFill>
                <a:latin typeface="Calibri"/>
                <a:cs typeface="Calibri"/>
              </a:rPr>
              <a:t>Alternate payee for Medical Cash payments (6/3/21 build release) : This applies to NF/PIF and ISS payments that are generated from the ONE Eligibility Rules Engine. </a:t>
            </a:r>
            <a:endParaRPr lang="en-US" sz="1700">
              <a:solidFill>
                <a:srgbClr val="000000"/>
              </a:solidFill>
              <a:latin typeface="Calibri" panose="020F0502020204030204" pitchFamily="34" charset="0"/>
              <a:cs typeface="Calibri"/>
            </a:endParaRPr>
          </a:p>
          <a:p>
            <a:pPr marL="0" indent="0">
              <a:buNone/>
            </a:pPr>
            <a:r>
              <a:rPr lang="en-US" sz="1700">
                <a:solidFill>
                  <a:srgbClr val="000000"/>
                </a:solidFill>
                <a:latin typeface="Calibri"/>
                <a:cs typeface="Calibri"/>
              </a:rPr>
              <a:t>ONE will now allow staff to select the individual eligible to receive the payment or any of the following: The Head of Household (regardless of age), an adult member of the case, an Authorized Payee designated in the Representative screens (Type= Authorized Payee (Medical – NF/PIF Only).</a:t>
            </a:r>
            <a:endParaRPr lang="en-US" sz="1700">
              <a:solidFill>
                <a:srgbClr val="000000"/>
              </a:solidFill>
              <a:latin typeface="Calibri" panose="020F0502020204030204" pitchFamily="34" charset="0"/>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a:solidFill>
                <a:srgbClr val="000000"/>
              </a:solidFill>
              <a:latin typeface="Calibri"/>
              <a:cs typeface="Calibri"/>
            </a:endParaRPr>
          </a:p>
          <a:p>
            <a:pPr marL="0" indent="0">
              <a:buNone/>
            </a:pPr>
            <a:endParaRPr lang="en-US" sz="1700">
              <a:solidFill>
                <a:srgbClr val="000000"/>
              </a:solidFill>
              <a:latin typeface="Calibri"/>
              <a:cs typeface="Calibri"/>
            </a:endParaRPr>
          </a:p>
          <a:p>
            <a:pPr marL="0" indent="0">
              <a:buNone/>
            </a:pPr>
            <a:r>
              <a:rPr lang="en-US" sz="1700">
                <a:solidFill>
                  <a:srgbClr val="000000"/>
                </a:solidFill>
                <a:latin typeface="Calibri"/>
                <a:cs typeface="Calibri"/>
              </a:rPr>
              <a:t>If staff do not select a Payee, and the individual eligible to receive the payment is under 18 years old, the payment will fail.  Note that staff can elect to choose the minor to receive the payment. </a:t>
            </a:r>
            <a:endParaRPr lang="en-US" sz="1700"/>
          </a:p>
          <a:p>
            <a:pPr marL="0" indent="0">
              <a:buNone/>
            </a:pPr>
            <a:endParaRPr lang="en-US" sz="1800" b="0" i="0">
              <a:solidFill>
                <a:srgbClr val="000000"/>
              </a:solidFill>
              <a:effectLst/>
              <a:latin typeface="Calibri" panose="020F0502020204030204" pitchFamily="34" charset="0"/>
              <a:cs typeface="Calibri"/>
            </a:endParaRPr>
          </a:p>
          <a:p>
            <a:pPr>
              <a:buFont typeface="Arial" panose="020B0604020202020204" pitchFamily="34" charset="0"/>
              <a:buChar char="•"/>
            </a:pPr>
            <a:endParaRPr lang="en-US">
              <a:solidFill>
                <a:srgbClr val="000000"/>
              </a:solidFill>
              <a:latin typeface="Calibri"/>
              <a:cs typeface="Calibri"/>
            </a:endParaRPr>
          </a:p>
          <a:p>
            <a:pPr>
              <a:buFont typeface="Arial" panose="020B0604020202020204" pitchFamily="34" charset="0"/>
              <a:buChar char="•"/>
            </a:pPr>
            <a:endParaRPr lang="en-US">
              <a:ea typeface="+mn-lt"/>
              <a:cs typeface="+mn-lt"/>
            </a:endParaRPr>
          </a:p>
        </p:txBody>
      </p:sp>
      <p:sp>
        <p:nvSpPr>
          <p:cNvPr id="8" name="Slide Number Placeholder 7">
            <a:extLst>
              <a:ext uri="{FF2B5EF4-FFF2-40B4-BE49-F238E27FC236}">
                <a16:creationId xmlns:a16="http://schemas.microsoft.com/office/drawing/2014/main" id="{69E94D49-8F93-4D4C-A842-3E73DC0ED966}"/>
              </a:ext>
            </a:extLst>
          </p:cNvPr>
          <p:cNvSpPr>
            <a:spLocks noGrp="1"/>
          </p:cNvSpPr>
          <p:nvPr>
            <p:ph type="sldNum" sz="quarter" idx="12"/>
          </p:nvPr>
        </p:nvSpPr>
        <p:spPr/>
        <p:txBody>
          <a:bodyPr/>
          <a:lstStyle/>
          <a:p>
            <a:fld id="{1024D82B-1252-45EC-8B21-B20462CE42E6}" type="slidenum">
              <a:rPr lang="en-US" smtClean="0"/>
              <a:t>9</a:t>
            </a:fld>
            <a:endParaRPr lang="en-US"/>
          </a:p>
        </p:txBody>
      </p:sp>
      <p:pic>
        <p:nvPicPr>
          <p:cNvPr id="3" name="Picture 2">
            <a:extLst>
              <a:ext uri="{FF2B5EF4-FFF2-40B4-BE49-F238E27FC236}">
                <a16:creationId xmlns:a16="http://schemas.microsoft.com/office/drawing/2014/main" id="{9F5640EE-2FF0-4FD4-9E28-E21574425411}"/>
              </a:ext>
            </a:extLst>
          </p:cNvPr>
          <p:cNvPicPr>
            <a:picLocks noChangeAspect="1"/>
          </p:cNvPicPr>
          <p:nvPr/>
        </p:nvPicPr>
        <p:blipFill>
          <a:blip r:embed="rId2"/>
          <a:stretch>
            <a:fillRect/>
          </a:stretch>
        </p:blipFill>
        <p:spPr>
          <a:xfrm>
            <a:off x="1249804" y="2828925"/>
            <a:ext cx="7029450" cy="21431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250211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DESIGN_ID_FACET" val="6JtvAN6K"/>
  <p:tag name="ARTICULATE_SLIDE_COUNT" val="2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Presentation1" id="{B48ECD80-BB24-48FB-8D4F-7A96A78B4418}" vid="{3F862A94-E3B3-490B-9F0B-EE4E16694286}"/>
    </a:ext>
  </a:extLst>
</a:theme>
</file>

<file path=ppt/theme/theme2.xml><?xml version="1.0" encoding="utf-8"?>
<a:theme xmlns:a="http://schemas.openxmlformats.org/drawingml/2006/main" name="Deloitte_US_Onscreen">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Escalated_to_Operations Guide.pptx  -  Read-Only" id="{58F48458-D79F-4479-A7B4-6DAD57F4C40D}" vid="{42D8E427-59A5-4266-A4F1-8DFF3242ED21}"/>
    </a:ext>
  </a:extLst>
</a:theme>
</file>

<file path=ppt/theme/theme3.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86A5E63F88964EB7B5D59A08F6C1B2" ma:contentTypeVersion="14" ma:contentTypeDescription="Create a new document." ma:contentTypeScope="" ma:versionID="e3a33797ce915dc808be39db2795919a">
  <xsd:schema xmlns:xsd="http://www.w3.org/2001/XMLSchema" xmlns:xs="http://www.w3.org/2001/XMLSchema" xmlns:p="http://schemas.microsoft.com/office/2006/metadata/properties" xmlns:ns1="http://schemas.microsoft.com/sharepoint/v3" xmlns:ns2="67fac20e-0c0c-494a-ad0a-44a92a6fe846" xmlns:ns3="49e1b1f5-4598-4f10-9cb7-32cc96214367" xmlns:ns4="http://schemas.microsoft.com/sharepoint/v4" targetNamespace="http://schemas.microsoft.com/office/2006/metadata/properties" ma:root="true" ma:fieldsID="40cb1a164b6481c2098fa2219f5de652" ns1:_="" ns2:_="" ns3:_="" ns4:_="">
    <xsd:import namespace="http://schemas.microsoft.com/sharepoint/v3"/>
    <xsd:import namespace="67fac20e-0c0c-494a-ad0a-44a92a6fe846"/>
    <xsd:import namespace="49e1b1f5-4598-4f10-9cb7-32cc96214367"/>
    <xsd:import namespace="http://schemas.microsoft.com/sharepoint/v4"/>
    <xsd:element name="properties">
      <xsd:complexType>
        <xsd:sequence>
          <xsd:element name="documentManagement">
            <xsd:complexType>
              <xsd:all>
                <xsd:element ref="ns2:Guide_x0020_or_x0020_Manual" minOccurs="0"/>
                <xsd:element ref="ns2:Date" minOccurs="0"/>
                <xsd:element ref="ns2:Program" minOccurs="0"/>
                <xsd:element ref="ns1:PublishingStartDate" minOccurs="0"/>
                <xsd:element ref="ns1:PublishingExpirationDate" minOccurs="0"/>
                <xsd:element ref="ns3:SharedWithUsers" minOccurs="0"/>
                <xsd:element ref="ns1:TranslationStateListUrl"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6"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7"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TranslationStateListUrl" ma:index="13" nillable="true" ma:displayName="List Link" ma:hidden="true" ma:internalName="TranslationStateListUrl" ma:readOnly="fals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7fac20e-0c0c-494a-ad0a-44a92a6fe846" elementFormDefault="qualified">
    <xsd:import namespace="http://schemas.microsoft.com/office/2006/documentManagement/types"/>
    <xsd:import namespace="http://schemas.microsoft.com/office/infopath/2007/PartnerControls"/>
    <xsd:element name="Guide_x0020_or_x0020_Manual" ma:index="2" nillable="true" ma:displayName="Guide or Manual" ma:default="0" ma:internalName="Guide_x0020_or_x0020_Manual">
      <xsd:simpleType>
        <xsd:restriction base="dms:Boolean"/>
      </xsd:simpleType>
    </xsd:element>
    <xsd:element name="Date" ma:index="3" nillable="true" ma:displayName="Date" ma:description="For Guides or Manuals only" ma:format="DateOnly" ma:internalName="Date">
      <xsd:simpleType>
        <xsd:restriction base="dms:DateTime"/>
      </xsd:simpleType>
    </xsd:element>
    <xsd:element name="Program" ma:index="4" nillable="true" ma:displayName="Topic" ma:internalName="Program">
      <xsd:complexType>
        <xsd:complexContent>
          <xsd:extension base="dms:MultiChoice">
            <xsd:sequence>
              <xsd:element name="Value" maxOccurs="unbounded" minOccurs="0" nillable="true">
                <xsd:simpleType>
                  <xsd:restriction base="dms:Choice">
                    <xsd:enumeration value="ADS"/>
                    <xsd:enumeration value="AFH"/>
                    <xsd:enumeration value="Assessments"/>
                    <xsd:enumeration value="BSS"/>
                    <xsd:enumeration value="CER"/>
                    <xsd:enumeration value="Complex"/>
                    <xsd:enumeration value="Crisis"/>
                    <xsd:enumeration value="Div/Trans"/>
                    <xsd:enumeration value="ECS"/>
                    <xsd:enumeration value="ERS"/>
                    <xsd:enumeration value="EWE"/>
                    <xsd:enumeration value="Exceptions"/>
                    <xsd:enumeration value="Facilities"/>
                    <xsd:enumeration value="GA"/>
                    <xsd:enumeration value="GrandPad"/>
                    <xsd:enumeration value="HCBS-IBL"/>
                    <xsd:enumeration value="HCW"/>
                    <xsd:enumeration value="HDM"/>
                    <xsd:enumeration value="Healthier Oregon"/>
                    <xsd:enumeration value="Hearings"/>
                    <xsd:enumeration value="Housing"/>
                    <xsd:enumeration value="In-home Support"/>
                    <xsd:enumeration value="IHCA"/>
                    <xsd:enumeration value="IHSS"/>
                    <xsd:enumeration value="ICP"/>
                    <xsd:enumeration value="K-Plan"/>
                    <xsd:enumeration value="LTCC-Nursing"/>
                    <xsd:enumeration value="MED"/>
                    <xsd:enumeration value="MISC"/>
                    <xsd:enumeration value="MM"/>
                    <xsd:enumeration value="MMIS"/>
                    <xsd:enumeration value="NF/PAS"/>
                    <xsd:enumeration value="OAA"/>
                    <xsd:enumeration value="OA CA/PS"/>
                    <xsd:enumeration value="OA Guides"/>
                    <xsd:enumeration value="ONE"/>
                    <xsd:enumeration value="OPI"/>
                    <xsd:enumeration value="OPI-M"/>
                    <xsd:enumeration value="Payments"/>
                    <xsd:enumeration value="PACE"/>
                    <xsd:enumeration value="PTC"/>
                    <xsd:enumeration value="RCF/ALF"/>
                    <xsd:enumeration value="Risk Assessment"/>
                    <xsd:enumeration value="Service Planning"/>
                    <xsd:enumeration value="Service Priority"/>
                    <xsd:enumeration value="SLP"/>
                    <xsd:enumeration value="SNC"/>
                    <xsd:enumeration value="SP"/>
                    <xsd:enumeration value="SPPC"/>
                    <xsd:enumeration value="Training"/>
                    <xsd:enumeration value="Tribal Navigator"/>
                    <xsd:enumeration value="WCM"/>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9e1b1f5-4598-4f10-9cb7-32cc9621436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5"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Guide_x0020_or_x0020_Manual xmlns="67fac20e-0c0c-494a-ad0a-44a92a6fe846">false</Guide_x0020_or_x0020_Manual>
    <PublishingExpirationDate xmlns="http://schemas.microsoft.com/sharepoint/v3" xsi:nil="true"/>
    <TranslationStateListUrl xmlns="http://schemas.microsoft.com/sharepoint/v3">
      <Url xsi:nil="true"/>
      <Description xsi:nil="true"/>
    </TranslationStateListUrl>
    <PublishingStartDate xmlns="http://schemas.microsoft.com/sharepoint/v3" xsi:nil="true"/>
    <Date xmlns="67fac20e-0c0c-494a-ad0a-44a92a6fe846" xsi:nil="true"/>
    <Program xmlns="67fac20e-0c0c-494a-ad0a-44a92a6fe846">
      <Value>ONE</Value>
    </Program>
  </documentManagement>
</p:properties>
</file>

<file path=customXml/itemProps1.xml><?xml version="1.0" encoding="utf-8"?>
<ds:datastoreItem xmlns:ds="http://schemas.openxmlformats.org/officeDocument/2006/customXml" ds:itemID="{BB9D9CCD-8EB6-4391-B348-F8E3D5548852}"/>
</file>

<file path=customXml/itemProps2.xml><?xml version="1.0" encoding="utf-8"?>
<ds:datastoreItem xmlns:ds="http://schemas.openxmlformats.org/officeDocument/2006/customXml" ds:itemID="{4DCB2DE1-F09D-4D11-80B4-7E04BCC845C7}"/>
</file>

<file path=customXml/itemProps3.xml><?xml version="1.0" encoding="utf-8"?>
<ds:datastoreItem xmlns:ds="http://schemas.openxmlformats.org/officeDocument/2006/customXml" ds:itemID="{C1C6A65B-16D5-4745-A589-D51BFB25E512}"/>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5</Slides>
  <Notes>7</Notes>
  <HiddenSlides>0</HiddenSlides>
  <ScaleCrop>false</ScaleCrop>
  <HeadingPairs>
    <vt:vector size="4" baseType="variant">
      <vt:variant>
        <vt:lpstr>Theme</vt:lpstr>
      </vt:variant>
      <vt:variant>
        <vt:i4>3</vt:i4>
      </vt:variant>
      <vt:variant>
        <vt:lpstr>Slide Titles</vt:lpstr>
      </vt:variant>
      <vt:variant>
        <vt:i4>15</vt:i4>
      </vt:variant>
    </vt:vector>
  </HeadingPairs>
  <TitlesOfParts>
    <vt:vector size="18" baseType="lpstr">
      <vt:lpstr>3_Deloitte_US_Onscreen</vt:lpstr>
      <vt:lpstr>Deloitte_US_Onscreen</vt:lpstr>
      <vt:lpstr>Facet</vt:lpstr>
      <vt:lpstr>PowerPoint Presentation</vt:lpstr>
      <vt:lpstr>APD/AAA Q&amp;A</vt:lpstr>
      <vt:lpstr>APD/AAA LTC Services &amp; ONE Q&amp;A Series</vt:lpstr>
      <vt:lpstr>APD/AAA LTC &amp; ONE Q&amp;A Series</vt:lpstr>
      <vt:lpstr>Overview of Sessions 1-4</vt:lpstr>
      <vt:lpstr>Overview of Sessions 5-8</vt:lpstr>
      <vt:lpstr>Voter Registration by CM's</vt:lpstr>
      <vt:lpstr>CSIA and 457Ds</vt:lpstr>
      <vt:lpstr>Recent Changes: NF/PIF and ISS changes</vt:lpstr>
      <vt:lpstr>Recent Changes</vt:lpstr>
      <vt:lpstr>Pending Questions</vt:lpstr>
      <vt:lpstr>Pending Questions continued</vt:lpstr>
      <vt:lpstr>Pending Questions continued</vt:lpstr>
      <vt:lpstr>Pending Questions continued</vt:lpstr>
      <vt:lpstr>Demo and Q&amp;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C and ONE Training Series Wrap-up</dc:title>
  <dc:creator>Mooney Erika R</dc:creator>
  <cp:revision>1</cp:revision>
  <dcterms:created xsi:type="dcterms:W3CDTF">2021-03-26T21:26:24Z</dcterms:created>
  <dcterms:modified xsi:type="dcterms:W3CDTF">2021-06-10T21:5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2EAB7130-4FCD-410A-86F8-41B303F1E5F3</vt:lpwstr>
  </property>
  <property fmtid="{D5CDD505-2E9C-101B-9397-08002B2CF9AE}" pid="3" name="ArticulatePath">
    <vt:lpwstr>https://dhsoha-my.sharepoint.com/personal/donitta_booth_dhsoha_state_or_us/Documents/#ONE Service Eligibility 2021.04.20 v5 dkb</vt:lpwstr>
  </property>
  <property fmtid="{D5CDD505-2E9C-101B-9397-08002B2CF9AE}" pid="4" name="ContentTypeId">
    <vt:lpwstr>0x0101003F86A5E63F88964EB7B5D59A08F6C1B2</vt:lpwstr>
  </property>
</Properties>
</file>